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596"/>
    <p:restoredTop sz="95909"/>
  </p:normalViewPr>
  <p:slideViewPr>
    <p:cSldViewPr snapToGrid="0" snapToObjects="1">
      <p:cViewPr varScale="1">
        <p:scale>
          <a:sx n="105" d="100"/>
          <a:sy n="105" d="100"/>
        </p:scale>
        <p:origin x="200" y="3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7C0095-81AC-1642-94F0-686B15E1D94E}" type="doc">
      <dgm:prSet loTypeId="urn:microsoft.com/office/officeart/2005/8/layout/vList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9D15665-73A5-8147-8B76-46B1F2BDCBD0}">
      <dgm:prSet custT="1"/>
      <dgm:spPr>
        <a:solidFill>
          <a:schemeClr val="accent2"/>
        </a:solidFill>
      </dgm:spPr>
      <dgm:t>
        <a:bodyPr/>
        <a:lstStyle/>
        <a:p>
          <a:r>
            <a:rPr lang="en-GB" sz="1400" b="0" i="0" dirty="0"/>
            <a:t>1 Develop category profile</a:t>
          </a:r>
          <a:endParaRPr lang="en-DE" sz="1400"/>
        </a:p>
      </dgm:t>
    </dgm:pt>
    <dgm:pt modelId="{93A4F822-694D-3446-BF11-61E5DEB4CC5B}" type="parTrans" cxnId="{BA4B4196-AB69-3B49-8581-BE9A7633F5DD}">
      <dgm:prSet/>
      <dgm:spPr/>
      <dgm:t>
        <a:bodyPr/>
        <a:lstStyle/>
        <a:p>
          <a:endParaRPr lang="en-GB"/>
        </a:p>
      </dgm:t>
    </dgm:pt>
    <dgm:pt modelId="{EC8BC9CD-2FEB-974A-B236-BCA8C1C37B00}" type="sibTrans" cxnId="{BA4B4196-AB69-3B49-8581-BE9A7633F5DD}">
      <dgm:prSet/>
      <dgm:spPr/>
      <dgm:t>
        <a:bodyPr/>
        <a:lstStyle/>
        <a:p>
          <a:endParaRPr lang="en-GB"/>
        </a:p>
      </dgm:t>
    </dgm:pt>
    <dgm:pt modelId="{3F06A436-5BCF-7A4F-83BE-9476BF34F43E}">
      <dgm:prSet custT="1"/>
      <dgm:spPr/>
      <dgm:t>
        <a:bodyPr/>
        <a:lstStyle/>
        <a:p>
          <a:r>
            <a:rPr lang="en-GB" sz="1400" b="0" i="0" dirty="0"/>
            <a:t>2 Building a Sourcing Strategy </a:t>
          </a:r>
          <a:endParaRPr lang="en-DE" sz="1400"/>
        </a:p>
      </dgm:t>
    </dgm:pt>
    <dgm:pt modelId="{6D072C05-0669-0D4C-8B1C-FC8DE41ADA73}" type="parTrans" cxnId="{0258F29F-0A7F-8F4E-B504-3423AE5E548F}">
      <dgm:prSet/>
      <dgm:spPr/>
      <dgm:t>
        <a:bodyPr/>
        <a:lstStyle/>
        <a:p>
          <a:endParaRPr lang="en-GB"/>
        </a:p>
      </dgm:t>
    </dgm:pt>
    <dgm:pt modelId="{7DCCD54F-E794-4145-AB72-0DF12E67F761}" type="sibTrans" cxnId="{0258F29F-0A7F-8F4E-B504-3423AE5E548F}">
      <dgm:prSet/>
      <dgm:spPr/>
      <dgm:t>
        <a:bodyPr/>
        <a:lstStyle/>
        <a:p>
          <a:endParaRPr lang="en-GB"/>
        </a:p>
      </dgm:t>
    </dgm:pt>
    <dgm:pt modelId="{0F385FCA-9983-7542-AF1A-B4540C39A448}">
      <dgm:prSet custT="1"/>
      <dgm:spPr/>
      <dgm:t>
        <a:bodyPr/>
        <a:lstStyle/>
        <a:p>
          <a:r>
            <a:rPr lang="en-GB" sz="1400" b="0" i="0" dirty="0"/>
            <a:t>Generate supplier portfolio</a:t>
          </a:r>
          <a:endParaRPr lang="en-DE" sz="1400"/>
        </a:p>
      </dgm:t>
    </dgm:pt>
    <dgm:pt modelId="{95CAE161-ADD2-E249-A0BA-E165810ABED6}" type="parTrans" cxnId="{126457DF-5219-ED4D-BD72-2F05A7508250}">
      <dgm:prSet/>
      <dgm:spPr/>
      <dgm:t>
        <a:bodyPr/>
        <a:lstStyle/>
        <a:p>
          <a:endParaRPr lang="en-GB"/>
        </a:p>
      </dgm:t>
    </dgm:pt>
    <dgm:pt modelId="{85C7D1CA-19B6-734E-BE69-2F8A34B91496}" type="sibTrans" cxnId="{126457DF-5219-ED4D-BD72-2F05A7508250}">
      <dgm:prSet/>
      <dgm:spPr/>
      <dgm:t>
        <a:bodyPr/>
        <a:lstStyle/>
        <a:p>
          <a:endParaRPr lang="en-GB"/>
        </a:p>
      </dgm:t>
    </dgm:pt>
    <dgm:pt modelId="{4BAEABB4-6CDA-5D45-88C9-5D97720DF335}">
      <dgm:prSet custT="1"/>
      <dgm:spPr/>
      <dgm:t>
        <a:bodyPr/>
        <a:lstStyle/>
        <a:p>
          <a:r>
            <a:rPr lang="en-GB" sz="1400" b="0" i="0" dirty="0"/>
            <a:t>Select implementation plan</a:t>
          </a:r>
          <a:endParaRPr lang="en-DE" sz="1400"/>
        </a:p>
      </dgm:t>
    </dgm:pt>
    <dgm:pt modelId="{B0C4959E-B29D-A44B-BE94-C2953141E90A}" type="parTrans" cxnId="{C87BBC9C-CC71-EB44-BBE7-D12B7FC87AB3}">
      <dgm:prSet/>
      <dgm:spPr/>
      <dgm:t>
        <a:bodyPr/>
        <a:lstStyle/>
        <a:p>
          <a:endParaRPr lang="en-GB"/>
        </a:p>
      </dgm:t>
    </dgm:pt>
    <dgm:pt modelId="{7C3B311A-4AA5-6B42-8D1E-FB6E0AB109F1}" type="sibTrans" cxnId="{C87BBC9C-CC71-EB44-BBE7-D12B7FC87AB3}">
      <dgm:prSet/>
      <dgm:spPr/>
      <dgm:t>
        <a:bodyPr/>
        <a:lstStyle/>
        <a:p>
          <a:endParaRPr lang="en-GB"/>
        </a:p>
      </dgm:t>
    </dgm:pt>
    <dgm:pt modelId="{CEE1899D-58A4-6241-9669-B35CA50AD773}">
      <dgm:prSet custT="1"/>
      <dgm:spPr/>
      <dgm:t>
        <a:bodyPr/>
        <a:lstStyle/>
        <a:p>
          <a:r>
            <a:rPr lang="en-GB" sz="1400" b="0" i="0" dirty="0"/>
            <a:t>Selection of Suppliers and negotiation</a:t>
          </a:r>
          <a:endParaRPr lang="en-DE" sz="1400" dirty="0"/>
        </a:p>
      </dgm:t>
    </dgm:pt>
    <dgm:pt modelId="{83E3301A-9F79-DB4C-8E7D-D2362D5F02D9}" type="parTrans" cxnId="{72E0AB87-C64C-6B4F-A098-9E188EEC6CCC}">
      <dgm:prSet/>
      <dgm:spPr/>
      <dgm:t>
        <a:bodyPr/>
        <a:lstStyle/>
        <a:p>
          <a:endParaRPr lang="en-GB"/>
        </a:p>
      </dgm:t>
    </dgm:pt>
    <dgm:pt modelId="{6018F717-252C-904F-A0E3-44C307470453}" type="sibTrans" cxnId="{72E0AB87-C64C-6B4F-A098-9E188EEC6CCC}">
      <dgm:prSet/>
      <dgm:spPr/>
      <dgm:t>
        <a:bodyPr/>
        <a:lstStyle/>
        <a:p>
          <a:endParaRPr lang="en-GB"/>
        </a:p>
      </dgm:t>
    </dgm:pt>
    <dgm:pt modelId="{F745954E-D445-984D-AEA6-76433C0DBB99}">
      <dgm:prSet custT="1"/>
      <dgm:spPr/>
      <dgm:t>
        <a:bodyPr/>
        <a:lstStyle/>
        <a:p>
          <a:r>
            <a:rPr lang="en-GB" sz="1400" b="0" i="0" dirty="0"/>
            <a:t>Implement &amp; Integrate  </a:t>
          </a:r>
          <a:endParaRPr lang="en-DE" sz="1400" dirty="0"/>
        </a:p>
      </dgm:t>
    </dgm:pt>
    <dgm:pt modelId="{24579C04-EE8E-224C-A715-FF1DFB8DD29A}" type="parTrans" cxnId="{E6FCBC0E-CEAD-1E42-BE06-4EAB471903A5}">
      <dgm:prSet/>
      <dgm:spPr/>
      <dgm:t>
        <a:bodyPr/>
        <a:lstStyle/>
        <a:p>
          <a:endParaRPr lang="en-GB"/>
        </a:p>
      </dgm:t>
    </dgm:pt>
    <dgm:pt modelId="{EB0E4B08-4A7D-B847-AD92-1985A8860E18}" type="sibTrans" cxnId="{E6FCBC0E-CEAD-1E42-BE06-4EAB471903A5}">
      <dgm:prSet/>
      <dgm:spPr/>
      <dgm:t>
        <a:bodyPr/>
        <a:lstStyle/>
        <a:p>
          <a:endParaRPr lang="en-GB"/>
        </a:p>
      </dgm:t>
    </dgm:pt>
    <dgm:pt modelId="{00F21279-E401-DF4B-8814-AB925B94E74B}">
      <dgm:prSet custT="1"/>
      <dgm:spPr/>
      <dgm:t>
        <a:bodyPr/>
        <a:lstStyle/>
        <a:p>
          <a:r>
            <a:rPr lang="en-GB" sz="1400" b="0" i="0" dirty="0"/>
            <a:t>Continuous improvement </a:t>
          </a:r>
          <a:endParaRPr lang="en-DE" sz="1400"/>
        </a:p>
      </dgm:t>
    </dgm:pt>
    <dgm:pt modelId="{81545B74-3E50-5849-9374-8D2C4EAFEECC}" type="parTrans" cxnId="{26903C71-02A7-6E46-B800-584B3ECF9BCE}">
      <dgm:prSet/>
      <dgm:spPr/>
      <dgm:t>
        <a:bodyPr/>
        <a:lstStyle/>
        <a:p>
          <a:endParaRPr lang="en-GB"/>
        </a:p>
      </dgm:t>
    </dgm:pt>
    <dgm:pt modelId="{073E7AB7-7D5D-4942-83C4-F9097299A84C}" type="sibTrans" cxnId="{26903C71-02A7-6E46-B800-584B3ECF9BCE}">
      <dgm:prSet/>
      <dgm:spPr/>
      <dgm:t>
        <a:bodyPr/>
        <a:lstStyle/>
        <a:p>
          <a:endParaRPr lang="en-GB"/>
        </a:p>
      </dgm:t>
    </dgm:pt>
    <dgm:pt modelId="{756A6463-5B4E-B44C-BB24-9B6D8A8C1E12}">
      <dgm:prSet custT="1"/>
      <dgm:spPr/>
      <dgm:t>
        <a:bodyPr/>
        <a:lstStyle/>
        <a:p>
          <a:pPr marL="57150" marR="0" lvl="1" indent="0" algn="l" defTabSz="3556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Char char="•"/>
            <a:tabLst/>
            <a:defRPr/>
          </a:pPr>
          <a:r>
            <a:rPr lang="en-GB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 panose="020B0502020202020204"/>
              <a:ea typeface="+mn-ea"/>
              <a:cs typeface="+mn-cs"/>
            </a:rPr>
            <a:t>Analyse internal clients requirements and needs Vs Analysing supplier’s market landscape and evolution</a:t>
          </a:r>
        </a:p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 panose="020B0502020202020204"/>
              <a:ea typeface="+mn-ea"/>
              <a:cs typeface="+mn-cs"/>
            </a:rPr>
            <a:t>Develop a spend profile of the category</a:t>
          </a:r>
        </a:p>
      </dgm:t>
    </dgm:pt>
    <dgm:pt modelId="{F10691A8-15CD-A44C-8CDE-92DCF48CF0FE}" type="parTrans" cxnId="{D93522A5-D951-974F-B4A9-601ABA737619}">
      <dgm:prSet/>
      <dgm:spPr/>
      <dgm:t>
        <a:bodyPr/>
        <a:lstStyle/>
        <a:p>
          <a:endParaRPr lang="en-GB"/>
        </a:p>
      </dgm:t>
    </dgm:pt>
    <dgm:pt modelId="{A8990EE4-3F60-0148-B57D-96D21CA0F70D}" type="sibTrans" cxnId="{D93522A5-D951-974F-B4A9-601ABA737619}">
      <dgm:prSet/>
      <dgm:spPr/>
      <dgm:t>
        <a:bodyPr/>
        <a:lstStyle/>
        <a:p>
          <a:endParaRPr lang="en-GB"/>
        </a:p>
      </dgm:t>
    </dgm:pt>
    <dgm:pt modelId="{16BF9700-539C-884B-A01E-94977401647D}">
      <dgm:prSet custT="1"/>
      <dgm:spPr/>
      <dgm:t>
        <a:bodyPr/>
        <a:lstStyle/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</a:pPr>
          <a:r>
            <a:rPr lang="en-GB" sz="800" kern="1200" dirty="0"/>
            <a:t>Match criticality to the ABC analyses : analyse where spending goes and define priorities </a:t>
          </a:r>
        </a:p>
      </dgm:t>
    </dgm:pt>
    <dgm:pt modelId="{2F92CB14-2605-5E4D-A146-DB9E5F5B09CE}" type="parTrans" cxnId="{A5C244F8-CBCB-E74A-9DB3-E68D8816AE76}">
      <dgm:prSet/>
      <dgm:spPr/>
      <dgm:t>
        <a:bodyPr/>
        <a:lstStyle/>
        <a:p>
          <a:endParaRPr lang="en-GB"/>
        </a:p>
      </dgm:t>
    </dgm:pt>
    <dgm:pt modelId="{74E38127-1E93-1242-8F8F-1D15A3234F7D}" type="sibTrans" cxnId="{A5C244F8-CBCB-E74A-9DB3-E68D8816AE76}">
      <dgm:prSet/>
      <dgm:spPr/>
      <dgm:t>
        <a:bodyPr/>
        <a:lstStyle/>
        <a:p>
          <a:endParaRPr lang="en-GB"/>
        </a:p>
      </dgm:t>
    </dgm:pt>
    <dgm:pt modelId="{A0E56CBE-DB69-4F41-9BFB-9ABC8FC785D6}">
      <dgm:prSet custT="1"/>
      <dgm:spPr/>
      <dgm:t>
        <a:bodyPr/>
        <a:lstStyle/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 panose="020B0502020202020204"/>
              <a:ea typeface="+mn-ea"/>
              <a:cs typeface="+mn-cs"/>
            </a:rPr>
            <a:t>Analyse the category’s criticality and each category’s element criticality to the business</a:t>
          </a:r>
        </a:p>
      </dgm:t>
    </dgm:pt>
    <dgm:pt modelId="{F9DE4FAA-89D5-1940-BAB7-9C797998D36C}" type="parTrans" cxnId="{4AD2BEDF-C47E-754F-9831-F5B9D401FEE6}">
      <dgm:prSet/>
      <dgm:spPr/>
      <dgm:t>
        <a:bodyPr/>
        <a:lstStyle/>
        <a:p>
          <a:endParaRPr lang="en-GB"/>
        </a:p>
      </dgm:t>
    </dgm:pt>
    <dgm:pt modelId="{91A8BA58-1D01-2A48-8920-93E83A3B0F9D}" type="sibTrans" cxnId="{4AD2BEDF-C47E-754F-9831-F5B9D401FEE6}">
      <dgm:prSet/>
      <dgm:spPr/>
      <dgm:t>
        <a:bodyPr/>
        <a:lstStyle/>
        <a:p>
          <a:endParaRPr lang="en-GB"/>
        </a:p>
      </dgm:t>
    </dgm:pt>
    <dgm:pt modelId="{586E7CC4-1F4E-C042-9A56-0DA00C5AF576}">
      <dgm:prSet custT="1"/>
      <dgm:spPr/>
      <dgm:t>
        <a:bodyPr/>
        <a:lstStyle/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</a:pPr>
          <a:endParaRPr lang="en-GB" sz="800" kern="1200" dirty="0"/>
        </a:p>
      </dgm:t>
    </dgm:pt>
    <dgm:pt modelId="{96C06B16-D78A-214B-A70D-4FDA44087809}" type="parTrans" cxnId="{85E7F65D-8B36-C942-9813-35748B6A1D34}">
      <dgm:prSet/>
      <dgm:spPr/>
      <dgm:t>
        <a:bodyPr/>
        <a:lstStyle/>
        <a:p>
          <a:endParaRPr lang="en-GB"/>
        </a:p>
      </dgm:t>
    </dgm:pt>
    <dgm:pt modelId="{052AB8FD-E9D5-9E49-AA21-204478803BFC}" type="sibTrans" cxnId="{85E7F65D-8B36-C942-9813-35748B6A1D34}">
      <dgm:prSet/>
      <dgm:spPr/>
      <dgm:t>
        <a:bodyPr/>
        <a:lstStyle/>
        <a:p>
          <a:endParaRPr lang="en-GB"/>
        </a:p>
      </dgm:t>
    </dgm:pt>
    <dgm:pt modelId="{37707521-D5F3-C64A-AD1A-5F4C37E35402}">
      <dgm:prSet custT="1"/>
      <dgm:spPr/>
      <dgm:t>
        <a:bodyPr/>
        <a:lstStyle/>
        <a:p>
          <a:r>
            <a:rPr lang="en-GB" sz="900" dirty="0"/>
            <a:t>Analyse the buying / supply power and use category criticality data from previous step and position the category</a:t>
          </a:r>
        </a:p>
      </dgm:t>
    </dgm:pt>
    <dgm:pt modelId="{D656F1BE-86B7-7C4F-ADD3-E96FD6AAAE72}" type="parTrans" cxnId="{9F439AAB-89FC-6D4D-93E4-1D3B9E5C939B}">
      <dgm:prSet/>
      <dgm:spPr/>
      <dgm:t>
        <a:bodyPr/>
        <a:lstStyle/>
        <a:p>
          <a:endParaRPr lang="en-GB"/>
        </a:p>
      </dgm:t>
    </dgm:pt>
    <dgm:pt modelId="{735FC5FC-4C44-5242-9BC3-42B5C3785C8A}" type="sibTrans" cxnId="{9F439AAB-89FC-6D4D-93E4-1D3B9E5C939B}">
      <dgm:prSet/>
      <dgm:spPr/>
      <dgm:t>
        <a:bodyPr/>
        <a:lstStyle/>
        <a:p>
          <a:endParaRPr lang="en-GB"/>
        </a:p>
      </dgm:t>
    </dgm:pt>
    <dgm:pt modelId="{DA351F4D-7096-D246-BBD9-0307F46859EB}">
      <dgm:prSet custT="1"/>
      <dgm:spPr/>
      <dgm:t>
        <a:bodyPr/>
        <a:lstStyle/>
        <a:p>
          <a:r>
            <a:rPr lang="en-GB" sz="900" dirty="0"/>
            <a:t>Determine sourcing approach</a:t>
          </a:r>
        </a:p>
      </dgm:t>
    </dgm:pt>
    <dgm:pt modelId="{98EB9A6C-D18A-5E40-BC50-4655BCB855DD}" type="parTrans" cxnId="{7FF1D0D3-EDA2-374C-9074-C79B4BF4285E}">
      <dgm:prSet/>
      <dgm:spPr/>
      <dgm:t>
        <a:bodyPr/>
        <a:lstStyle/>
        <a:p>
          <a:endParaRPr lang="en-GB"/>
        </a:p>
      </dgm:t>
    </dgm:pt>
    <dgm:pt modelId="{2356FB87-D3CE-E74A-9976-B26FBA354E8E}" type="sibTrans" cxnId="{7FF1D0D3-EDA2-374C-9074-C79B4BF4285E}">
      <dgm:prSet/>
      <dgm:spPr/>
      <dgm:t>
        <a:bodyPr/>
        <a:lstStyle/>
        <a:p>
          <a:endParaRPr lang="en-GB"/>
        </a:p>
      </dgm:t>
    </dgm:pt>
    <dgm:pt modelId="{6D8DBF11-13AE-F04C-9FC3-C65E7AEC0598}">
      <dgm:prSet custT="1"/>
      <dgm:spPr/>
      <dgm:t>
        <a:bodyPr/>
        <a:lstStyle/>
        <a:p>
          <a:r>
            <a:rPr lang="en-GB" sz="900" b="0" i="0" u="none" dirty="0"/>
            <a:t>Defining Goals, objectives and timeline to fulfil the requirements</a:t>
          </a:r>
          <a:endParaRPr lang="en-GB" sz="900" dirty="0"/>
        </a:p>
      </dgm:t>
    </dgm:pt>
    <dgm:pt modelId="{A942E0B9-DE80-5E47-B346-48847FE5A025}" type="parTrans" cxnId="{2D64A91E-D8DE-8241-A20E-DF66B644EB92}">
      <dgm:prSet/>
      <dgm:spPr/>
      <dgm:t>
        <a:bodyPr/>
        <a:lstStyle/>
        <a:p>
          <a:endParaRPr lang="en-GB"/>
        </a:p>
      </dgm:t>
    </dgm:pt>
    <dgm:pt modelId="{D80C385E-8F0D-6C4C-9604-2145D7379274}" type="sibTrans" cxnId="{2D64A91E-D8DE-8241-A20E-DF66B644EB92}">
      <dgm:prSet/>
      <dgm:spPr/>
      <dgm:t>
        <a:bodyPr/>
        <a:lstStyle/>
        <a:p>
          <a:endParaRPr lang="en-GB"/>
        </a:p>
      </dgm:t>
    </dgm:pt>
    <dgm:pt modelId="{B04D7351-4C30-394E-8B6E-D4ABD5EB845B}">
      <dgm:prSet/>
      <dgm:spPr/>
      <dgm:t>
        <a:bodyPr/>
        <a:lstStyle/>
        <a:p>
          <a:r>
            <a:rPr lang="en-GB" dirty="0"/>
            <a:t>Identify existing suppliers and short –list qualified ones</a:t>
          </a:r>
        </a:p>
      </dgm:t>
    </dgm:pt>
    <dgm:pt modelId="{A4AFA13C-DC9C-2D4E-A171-60CD6DBDBCF3}" type="parTrans" cxnId="{5D5ED3D8-44A1-A243-B3EC-13F1CD46811A}">
      <dgm:prSet/>
      <dgm:spPr/>
      <dgm:t>
        <a:bodyPr/>
        <a:lstStyle/>
        <a:p>
          <a:endParaRPr lang="en-GB"/>
        </a:p>
      </dgm:t>
    </dgm:pt>
    <dgm:pt modelId="{5F4E199B-B60B-3545-84D1-C875C663651E}" type="sibTrans" cxnId="{5D5ED3D8-44A1-A243-B3EC-13F1CD46811A}">
      <dgm:prSet/>
      <dgm:spPr/>
      <dgm:t>
        <a:bodyPr/>
        <a:lstStyle/>
        <a:p>
          <a:endParaRPr lang="en-GB"/>
        </a:p>
      </dgm:t>
    </dgm:pt>
    <dgm:pt modelId="{CA407D6B-32CB-9241-A9A9-44E2C66D8370}">
      <dgm:prSet/>
      <dgm:spPr/>
      <dgm:t>
        <a:bodyPr/>
        <a:lstStyle/>
        <a:p>
          <a:r>
            <a:rPr lang="en-GB" dirty="0"/>
            <a:t>Determine suppliers capabilities </a:t>
          </a:r>
        </a:p>
      </dgm:t>
    </dgm:pt>
    <dgm:pt modelId="{4A062090-6297-3040-BF6B-7A74D0919AF9}" type="parTrans" cxnId="{8C5CEAA2-F16C-5042-991A-7F753CF1DEFB}">
      <dgm:prSet/>
      <dgm:spPr/>
      <dgm:t>
        <a:bodyPr/>
        <a:lstStyle/>
        <a:p>
          <a:endParaRPr lang="en-GB"/>
        </a:p>
      </dgm:t>
    </dgm:pt>
    <dgm:pt modelId="{65750E75-2764-2142-8290-F289064B3EAD}" type="sibTrans" cxnId="{8C5CEAA2-F16C-5042-991A-7F753CF1DEFB}">
      <dgm:prSet/>
      <dgm:spPr/>
      <dgm:t>
        <a:bodyPr/>
        <a:lstStyle/>
        <a:p>
          <a:endParaRPr lang="en-GB"/>
        </a:p>
      </dgm:t>
    </dgm:pt>
    <dgm:pt modelId="{EA116895-A7F9-284A-BB5D-77B2C811C6C3}">
      <dgm:prSet/>
      <dgm:spPr/>
      <dgm:t>
        <a:bodyPr/>
        <a:lstStyle/>
        <a:p>
          <a:r>
            <a:rPr lang="en-GB" dirty="0"/>
            <a:t>Identify the needed requirement that a supplier should have </a:t>
          </a:r>
        </a:p>
      </dgm:t>
    </dgm:pt>
    <dgm:pt modelId="{12031189-AECF-6449-8481-331DFD509924}" type="parTrans" cxnId="{3467EFB3-6B58-BD47-BBCF-CA3D6205BE3D}">
      <dgm:prSet/>
      <dgm:spPr/>
      <dgm:t>
        <a:bodyPr/>
        <a:lstStyle/>
        <a:p>
          <a:endParaRPr lang="en-GB"/>
        </a:p>
      </dgm:t>
    </dgm:pt>
    <dgm:pt modelId="{E012BBD5-0C18-0F4C-9A14-D08BB7CECAD1}" type="sibTrans" cxnId="{3467EFB3-6B58-BD47-BBCF-CA3D6205BE3D}">
      <dgm:prSet/>
      <dgm:spPr/>
      <dgm:t>
        <a:bodyPr/>
        <a:lstStyle/>
        <a:p>
          <a:endParaRPr lang="en-GB"/>
        </a:p>
      </dgm:t>
    </dgm:pt>
    <dgm:pt modelId="{FB85EC5B-01B8-6A4E-B43B-6B13FAF8F369}">
      <dgm:prSet/>
      <dgm:spPr/>
      <dgm:t>
        <a:bodyPr/>
        <a:lstStyle/>
        <a:p>
          <a:r>
            <a:rPr lang="en-GB" dirty="0"/>
            <a:t>Develop supplier’s selection criteria</a:t>
          </a:r>
        </a:p>
      </dgm:t>
    </dgm:pt>
    <dgm:pt modelId="{A83C7F8F-08DE-1E42-A407-F43B38B285DD}" type="parTrans" cxnId="{5F252B41-9860-E443-B0BF-B69DD62916B2}">
      <dgm:prSet/>
      <dgm:spPr/>
      <dgm:t>
        <a:bodyPr/>
        <a:lstStyle/>
        <a:p>
          <a:endParaRPr lang="en-GB"/>
        </a:p>
      </dgm:t>
    </dgm:pt>
    <dgm:pt modelId="{D3C00A21-9934-AA46-92F0-D86F61780915}" type="sibTrans" cxnId="{5F252B41-9860-E443-B0BF-B69DD62916B2}">
      <dgm:prSet/>
      <dgm:spPr/>
      <dgm:t>
        <a:bodyPr/>
        <a:lstStyle/>
        <a:p>
          <a:endParaRPr lang="en-GB"/>
        </a:p>
      </dgm:t>
    </dgm:pt>
    <dgm:pt modelId="{99E69397-D7B4-B14B-B009-00AA1637A4AC}">
      <dgm:prSet/>
      <dgm:spPr/>
      <dgm:t>
        <a:bodyPr/>
        <a:lstStyle/>
        <a:p>
          <a:r>
            <a:rPr lang="en-GB" dirty="0"/>
            <a:t>Develop supplier’s evaluation system</a:t>
          </a:r>
        </a:p>
      </dgm:t>
    </dgm:pt>
    <dgm:pt modelId="{67F776F8-081B-F340-9519-BBCEC8756D33}" type="parTrans" cxnId="{7CCE2B20-F193-A740-AE8A-2ACCFA3B1C65}">
      <dgm:prSet/>
      <dgm:spPr/>
      <dgm:t>
        <a:bodyPr/>
        <a:lstStyle/>
        <a:p>
          <a:endParaRPr lang="en-GB"/>
        </a:p>
      </dgm:t>
    </dgm:pt>
    <dgm:pt modelId="{5B0FF7C2-E2B8-EC47-83EC-EA7332E4C068}" type="sibTrans" cxnId="{7CCE2B20-F193-A740-AE8A-2ACCFA3B1C65}">
      <dgm:prSet/>
      <dgm:spPr/>
      <dgm:t>
        <a:bodyPr/>
        <a:lstStyle/>
        <a:p>
          <a:endParaRPr lang="en-GB"/>
        </a:p>
      </dgm:t>
    </dgm:pt>
    <dgm:pt modelId="{3EB777B7-1BEB-DD4A-B31F-CE3968A82114}">
      <dgm:prSet/>
      <dgm:spPr/>
      <dgm:t>
        <a:bodyPr/>
        <a:lstStyle/>
        <a:p>
          <a:r>
            <a:rPr lang="en-GB" dirty="0"/>
            <a:t>Establish the short-list of suppliers </a:t>
          </a:r>
        </a:p>
      </dgm:t>
    </dgm:pt>
    <dgm:pt modelId="{F9483599-51E3-0843-858F-0F4E55D39CCA}" type="parTrans" cxnId="{50CF5A6B-95FA-7146-9884-82C15133A5CE}">
      <dgm:prSet/>
      <dgm:spPr/>
      <dgm:t>
        <a:bodyPr/>
        <a:lstStyle/>
        <a:p>
          <a:endParaRPr lang="en-GB"/>
        </a:p>
      </dgm:t>
    </dgm:pt>
    <dgm:pt modelId="{E16B41B4-0987-E345-B4EF-8AA47F6FB894}" type="sibTrans" cxnId="{50CF5A6B-95FA-7146-9884-82C15133A5CE}">
      <dgm:prSet/>
      <dgm:spPr/>
      <dgm:t>
        <a:bodyPr/>
        <a:lstStyle/>
        <a:p>
          <a:endParaRPr lang="en-GB"/>
        </a:p>
      </dgm:t>
    </dgm:pt>
    <dgm:pt modelId="{159FE636-B7AD-C340-946E-6164945FA31F}">
      <dgm:prSet custT="1"/>
      <dgm:spPr/>
      <dgm:t>
        <a:bodyPr/>
        <a:lstStyle/>
        <a:p>
          <a:r>
            <a:rPr lang="en-GB" sz="1000" dirty="0"/>
            <a:t> Verify and adjust  sourcing strategy</a:t>
          </a:r>
        </a:p>
      </dgm:t>
    </dgm:pt>
    <dgm:pt modelId="{FD806B01-4588-0445-9D44-B95B1DD0C95B}" type="parTrans" cxnId="{A0A604F2-D3AD-004F-994D-549437A5D6D5}">
      <dgm:prSet/>
      <dgm:spPr/>
      <dgm:t>
        <a:bodyPr/>
        <a:lstStyle/>
        <a:p>
          <a:endParaRPr lang="en-GB"/>
        </a:p>
      </dgm:t>
    </dgm:pt>
    <dgm:pt modelId="{1604C9B5-04B9-3943-96E0-B50470EC2FF7}" type="sibTrans" cxnId="{A0A604F2-D3AD-004F-994D-549437A5D6D5}">
      <dgm:prSet/>
      <dgm:spPr/>
      <dgm:t>
        <a:bodyPr/>
        <a:lstStyle/>
        <a:p>
          <a:endParaRPr lang="en-GB"/>
        </a:p>
      </dgm:t>
    </dgm:pt>
    <dgm:pt modelId="{9434F549-DB48-E54E-BBFC-376EFFA583DE}">
      <dgm:prSet custT="1"/>
      <dgm:spPr/>
      <dgm:t>
        <a:bodyPr/>
        <a:lstStyle/>
        <a:p>
          <a:r>
            <a:rPr lang="en-GB" sz="1000" dirty="0"/>
            <a:t>Develop implementation plan </a:t>
          </a:r>
        </a:p>
      </dgm:t>
    </dgm:pt>
    <dgm:pt modelId="{2610A106-A956-9A47-978C-8ABB752AFCE4}" type="parTrans" cxnId="{70B180A9-A6BC-B848-9FE4-BC843FC44C78}">
      <dgm:prSet/>
      <dgm:spPr/>
      <dgm:t>
        <a:bodyPr/>
        <a:lstStyle/>
        <a:p>
          <a:endParaRPr lang="en-GB"/>
        </a:p>
      </dgm:t>
    </dgm:pt>
    <dgm:pt modelId="{9C96AFBF-DA7F-1345-AACD-F1953F339672}" type="sibTrans" cxnId="{70B180A9-A6BC-B848-9FE4-BC843FC44C78}">
      <dgm:prSet/>
      <dgm:spPr/>
      <dgm:t>
        <a:bodyPr/>
        <a:lstStyle/>
        <a:p>
          <a:endParaRPr lang="en-GB"/>
        </a:p>
      </dgm:t>
    </dgm:pt>
    <dgm:pt modelId="{66459D45-5B0E-F84A-B84B-91491ED03FE8}">
      <dgm:prSet custT="1"/>
      <dgm:spPr/>
      <dgm:t>
        <a:bodyPr/>
        <a:lstStyle/>
        <a:p>
          <a:endParaRPr lang="en-GB" sz="1000" dirty="0"/>
        </a:p>
      </dgm:t>
    </dgm:pt>
    <dgm:pt modelId="{7207384E-E682-954D-8F0F-C815F6F25137}" type="parTrans" cxnId="{2C1D79A8-C7C6-E54E-81E5-06770C47740D}">
      <dgm:prSet/>
      <dgm:spPr/>
      <dgm:t>
        <a:bodyPr/>
        <a:lstStyle/>
        <a:p>
          <a:endParaRPr lang="en-GB"/>
        </a:p>
      </dgm:t>
    </dgm:pt>
    <dgm:pt modelId="{157A2530-9E7D-B646-AF36-681FBFE84A1A}" type="sibTrans" cxnId="{2C1D79A8-C7C6-E54E-81E5-06770C47740D}">
      <dgm:prSet/>
      <dgm:spPr/>
      <dgm:t>
        <a:bodyPr/>
        <a:lstStyle/>
        <a:p>
          <a:endParaRPr lang="en-GB"/>
        </a:p>
      </dgm:t>
    </dgm:pt>
    <dgm:pt modelId="{B01D5EAC-424D-B94D-B6D8-DCC0351E697D}">
      <dgm:prSet/>
      <dgm:spPr/>
      <dgm:t>
        <a:bodyPr/>
        <a:lstStyle/>
        <a:p>
          <a:r>
            <a:rPr lang="en-GB" dirty="0"/>
            <a:t>Plan negotiation strategy</a:t>
          </a:r>
        </a:p>
      </dgm:t>
    </dgm:pt>
    <dgm:pt modelId="{24275B60-8F75-D148-95CC-59C4986A6C35}" type="parTrans" cxnId="{608BEB70-8C89-D340-9199-7AFFF2B1664B}">
      <dgm:prSet/>
      <dgm:spPr/>
      <dgm:t>
        <a:bodyPr/>
        <a:lstStyle/>
        <a:p>
          <a:endParaRPr lang="en-GB"/>
        </a:p>
      </dgm:t>
    </dgm:pt>
    <dgm:pt modelId="{9FE6AD50-8946-BD45-931C-A1206C15AD27}" type="sibTrans" cxnId="{608BEB70-8C89-D340-9199-7AFFF2B1664B}">
      <dgm:prSet/>
      <dgm:spPr/>
      <dgm:t>
        <a:bodyPr/>
        <a:lstStyle/>
        <a:p>
          <a:endParaRPr lang="en-GB"/>
        </a:p>
      </dgm:t>
    </dgm:pt>
    <dgm:pt modelId="{8797DA10-77B6-294A-A74A-F44310AF9B46}">
      <dgm:prSet/>
      <dgm:spPr/>
      <dgm:t>
        <a:bodyPr/>
        <a:lstStyle/>
        <a:p>
          <a:endParaRPr lang="en-GB" dirty="0"/>
        </a:p>
      </dgm:t>
    </dgm:pt>
    <dgm:pt modelId="{EE7C4F7D-B104-2648-A8DA-6A84CB46551A}" type="parTrans" cxnId="{85F5FE46-69FD-AC4A-95B8-A6A5C26B1FB4}">
      <dgm:prSet/>
      <dgm:spPr/>
      <dgm:t>
        <a:bodyPr/>
        <a:lstStyle/>
        <a:p>
          <a:endParaRPr lang="en-GB"/>
        </a:p>
      </dgm:t>
    </dgm:pt>
    <dgm:pt modelId="{5EDEDBE8-C22D-BC4C-AD75-812787DAE2FF}" type="sibTrans" cxnId="{85F5FE46-69FD-AC4A-95B8-A6A5C26B1FB4}">
      <dgm:prSet/>
      <dgm:spPr/>
      <dgm:t>
        <a:bodyPr/>
        <a:lstStyle/>
        <a:p>
          <a:endParaRPr lang="en-GB"/>
        </a:p>
      </dgm:t>
    </dgm:pt>
    <dgm:pt modelId="{B18155C8-D5A5-E14E-8320-A7E6CBE388D8}">
      <dgm:prSet/>
      <dgm:spPr/>
      <dgm:t>
        <a:bodyPr/>
        <a:lstStyle/>
        <a:p>
          <a:r>
            <a:rPr lang="en-GB" dirty="0"/>
            <a:t>Evaluate supplier proposals</a:t>
          </a:r>
        </a:p>
      </dgm:t>
    </dgm:pt>
    <dgm:pt modelId="{BB951861-C484-6E47-9328-20B09E731B06}" type="parTrans" cxnId="{9A393CD7-F723-9F47-90EF-668B5EFD02EA}">
      <dgm:prSet/>
      <dgm:spPr/>
      <dgm:t>
        <a:bodyPr/>
        <a:lstStyle/>
        <a:p>
          <a:endParaRPr lang="en-GB"/>
        </a:p>
      </dgm:t>
    </dgm:pt>
    <dgm:pt modelId="{11A267B7-3648-0949-B34D-74FBFD91963F}" type="sibTrans" cxnId="{9A393CD7-F723-9F47-90EF-668B5EFD02EA}">
      <dgm:prSet/>
      <dgm:spPr/>
      <dgm:t>
        <a:bodyPr/>
        <a:lstStyle/>
        <a:p>
          <a:endParaRPr lang="en-GB"/>
        </a:p>
      </dgm:t>
    </dgm:pt>
    <dgm:pt modelId="{AEC5098C-9DE0-8245-A0A3-880AACB65F9C}">
      <dgm:prSet/>
      <dgm:spPr/>
      <dgm:t>
        <a:bodyPr/>
        <a:lstStyle/>
        <a:p>
          <a:r>
            <a:rPr lang="en-GB" dirty="0"/>
            <a:t>Conduct negotiations with suppliers</a:t>
          </a:r>
        </a:p>
      </dgm:t>
    </dgm:pt>
    <dgm:pt modelId="{D5B7FB0A-FB11-234B-B982-29DC3AEA4B1B}" type="parTrans" cxnId="{2C4AB504-F500-DD40-B678-24BA727C0C6D}">
      <dgm:prSet/>
      <dgm:spPr/>
      <dgm:t>
        <a:bodyPr/>
        <a:lstStyle/>
        <a:p>
          <a:endParaRPr lang="en-GB"/>
        </a:p>
      </dgm:t>
    </dgm:pt>
    <dgm:pt modelId="{3A71DA3B-A6E0-B148-8949-3CAEA7E8918B}" type="sibTrans" cxnId="{2C4AB504-F500-DD40-B678-24BA727C0C6D}">
      <dgm:prSet/>
      <dgm:spPr/>
      <dgm:t>
        <a:bodyPr/>
        <a:lstStyle/>
        <a:p>
          <a:endParaRPr lang="en-GB"/>
        </a:p>
      </dgm:t>
    </dgm:pt>
    <dgm:pt modelId="{D5D31994-EDB7-144C-86E5-28682AEE3F37}">
      <dgm:prSet/>
      <dgm:spPr/>
      <dgm:t>
        <a:bodyPr/>
        <a:lstStyle/>
        <a:p>
          <a:r>
            <a:rPr lang="en-GB" dirty="0"/>
            <a:t>Recommend sourcing decision   </a:t>
          </a:r>
        </a:p>
      </dgm:t>
    </dgm:pt>
    <dgm:pt modelId="{CBC7EB43-E0A0-6647-B41A-8853EB8AB1C7}" type="parTrans" cxnId="{B717CDAA-9A5F-F940-9013-D4A334E93BF9}">
      <dgm:prSet/>
      <dgm:spPr/>
      <dgm:t>
        <a:bodyPr/>
        <a:lstStyle/>
        <a:p>
          <a:endParaRPr lang="en-GB"/>
        </a:p>
      </dgm:t>
    </dgm:pt>
    <dgm:pt modelId="{EE6D4F55-4F1C-D349-A4D8-135543BE2FFE}" type="sibTrans" cxnId="{B717CDAA-9A5F-F940-9013-D4A334E93BF9}">
      <dgm:prSet/>
      <dgm:spPr/>
      <dgm:t>
        <a:bodyPr/>
        <a:lstStyle/>
        <a:p>
          <a:endParaRPr lang="en-GB"/>
        </a:p>
      </dgm:t>
    </dgm:pt>
    <dgm:pt modelId="{0DA18509-E066-AC4A-8172-65C2D15DA8D5}">
      <dgm:prSet/>
      <dgm:spPr/>
      <dgm:t>
        <a:bodyPr/>
        <a:lstStyle/>
        <a:p>
          <a:r>
            <a:rPr lang="en-GB" dirty="0"/>
            <a:t>Plan and implement transition to new supplier relationships</a:t>
          </a:r>
        </a:p>
      </dgm:t>
    </dgm:pt>
    <dgm:pt modelId="{B809F047-7CA9-1440-89F8-6E214288095B}" type="parTrans" cxnId="{73AA18D8-AB51-6A4D-BEEB-E59A2455B1CB}">
      <dgm:prSet/>
      <dgm:spPr/>
      <dgm:t>
        <a:bodyPr/>
        <a:lstStyle/>
        <a:p>
          <a:endParaRPr lang="en-GB"/>
        </a:p>
      </dgm:t>
    </dgm:pt>
    <dgm:pt modelId="{0F4FB695-DD70-4044-857D-47B62FA8E912}" type="sibTrans" cxnId="{73AA18D8-AB51-6A4D-BEEB-E59A2455B1CB}">
      <dgm:prSet/>
      <dgm:spPr/>
      <dgm:t>
        <a:bodyPr/>
        <a:lstStyle/>
        <a:p>
          <a:endParaRPr lang="en-GB"/>
        </a:p>
      </dgm:t>
    </dgm:pt>
    <dgm:pt modelId="{BC1031F5-8BA2-5343-8FC2-87B3B770ADC8}">
      <dgm:prSet/>
      <dgm:spPr/>
      <dgm:t>
        <a:bodyPr/>
        <a:lstStyle/>
        <a:p>
          <a:r>
            <a:rPr lang="en-GB" dirty="0"/>
            <a:t>Identify what kind of relationship would be (see tool box in front)</a:t>
          </a:r>
        </a:p>
      </dgm:t>
    </dgm:pt>
    <dgm:pt modelId="{43667D77-FFE3-6B4A-99D3-9D1499BDF305}" type="parTrans" cxnId="{441407DF-AA6B-A742-A7DC-01CC38E9D2F6}">
      <dgm:prSet/>
      <dgm:spPr/>
      <dgm:t>
        <a:bodyPr/>
        <a:lstStyle/>
        <a:p>
          <a:endParaRPr lang="en-GB"/>
        </a:p>
      </dgm:t>
    </dgm:pt>
    <dgm:pt modelId="{5DC47974-07A5-2D41-950A-6BD3A393DD08}" type="sibTrans" cxnId="{441407DF-AA6B-A742-A7DC-01CC38E9D2F6}">
      <dgm:prSet/>
      <dgm:spPr/>
      <dgm:t>
        <a:bodyPr/>
        <a:lstStyle/>
        <a:p>
          <a:endParaRPr lang="en-GB"/>
        </a:p>
      </dgm:t>
    </dgm:pt>
    <dgm:pt modelId="{A726275B-45DA-5244-8115-76888758EEB1}">
      <dgm:prSet/>
      <dgm:spPr/>
      <dgm:t>
        <a:bodyPr/>
        <a:lstStyle/>
        <a:p>
          <a:r>
            <a:rPr lang="en-GB" dirty="0"/>
            <a:t>Define a performance measurement dashboard </a:t>
          </a:r>
        </a:p>
      </dgm:t>
    </dgm:pt>
    <dgm:pt modelId="{B53B53D7-45F1-8243-918C-C3F470E450C2}" type="parTrans" cxnId="{A8B8610B-C920-8F4F-9F16-9B6031186A3B}">
      <dgm:prSet/>
      <dgm:spPr/>
      <dgm:t>
        <a:bodyPr/>
        <a:lstStyle/>
        <a:p>
          <a:endParaRPr lang="en-GB"/>
        </a:p>
      </dgm:t>
    </dgm:pt>
    <dgm:pt modelId="{4373178F-4053-0141-9BB7-E9FC0B7FFF00}" type="sibTrans" cxnId="{A8B8610B-C920-8F4F-9F16-9B6031186A3B}">
      <dgm:prSet/>
      <dgm:spPr/>
      <dgm:t>
        <a:bodyPr/>
        <a:lstStyle/>
        <a:p>
          <a:endParaRPr lang="en-GB"/>
        </a:p>
      </dgm:t>
    </dgm:pt>
    <dgm:pt modelId="{36950E2F-80D0-1F46-8994-B2FFAA3A4E3C}">
      <dgm:prSet/>
      <dgm:spPr/>
      <dgm:t>
        <a:bodyPr/>
        <a:lstStyle/>
        <a:p>
          <a:r>
            <a:rPr lang="en-GB" dirty="0"/>
            <a:t>Implement appropriate management control and reporting system</a:t>
          </a:r>
        </a:p>
      </dgm:t>
    </dgm:pt>
    <dgm:pt modelId="{8B40095A-C7C7-824B-8FBC-CABA4184B645}" type="parTrans" cxnId="{2387D64A-C737-934E-B7EF-E6554B4015E4}">
      <dgm:prSet/>
      <dgm:spPr/>
      <dgm:t>
        <a:bodyPr/>
        <a:lstStyle/>
        <a:p>
          <a:endParaRPr lang="en-GB"/>
        </a:p>
      </dgm:t>
    </dgm:pt>
    <dgm:pt modelId="{17D1B16A-6D2A-EC49-A489-7AF3281752E8}" type="sibTrans" cxnId="{2387D64A-C737-934E-B7EF-E6554B4015E4}">
      <dgm:prSet/>
      <dgm:spPr/>
      <dgm:t>
        <a:bodyPr/>
        <a:lstStyle/>
        <a:p>
          <a:endParaRPr lang="en-GB"/>
        </a:p>
      </dgm:t>
    </dgm:pt>
    <dgm:pt modelId="{340D5AA5-5999-154E-8863-F982D01169D8}">
      <dgm:prSet/>
      <dgm:spPr/>
      <dgm:t>
        <a:bodyPr/>
        <a:lstStyle/>
        <a:p>
          <a:r>
            <a:rPr lang="en-GB" dirty="0"/>
            <a:t>Implement performance improvement review based on systemic evaluation</a:t>
          </a:r>
        </a:p>
      </dgm:t>
    </dgm:pt>
    <dgm:pt modelId="{1F6CDDB3-8D4F-EB48-B795-FEE9475FD200}" type="parTrans" cxnId="{BCDB7FD1-BF2C-CA46-A3AA-C0AD06DB73CA}">
      <dgm:prSet/>
      <dgm:spPr/>
      <dgm:t>
        <a:bodyPr/>
        <a:lstStyle/>
        <a:p>
          <a:endParaRPr lang="en-GB"/>
        </a:p>
      </dgm:t>
    </dgm:pt>
    <dgm:pt modelId="{520C8D8B-A0B0-3949-94A1-0DF9E73FEDE3}" type="sibTrans" cxnId="{BCDB7FD1-BF2C-CA46-A3AA-C0AD06DB73CA}">
      <dgm:prSet/>
      <dgm:spPr/>
      <dgm:t>
        <a:bodyPr/>
        <a:lstStyle/>
        <a:p>
          <a:endParaRPr lang="en-GB"/>
        </a:p>
      </dgm:t>
    </dgm:pt>
    <dgm:pt modelId="{391CC720-0650-D64D-8E43-61FEF56E7CDA}">
      <dgm:prSet/>
      <dgm:spPr/>
      <dgm:t>
        <a:bodyPr/>
        <a:lstStyle/>
        <a:p>
          <a:r>
            <a:rPr lang="en-GB" dirty="0"/>
            <a:t>Conduct market benchmarking activities  close monitor the market’s conditions</a:t>
          </a:r>
        </a:p>
      </dgm:t>
    </dgm:pt>
    <dgm:pt modelId="{E131BA24-91DA-2647-A365-15EE49C311FF}" type="parTrans" cxnId="{F69C3876-30A8-454B-93CB-3E7906A87941}">
      <dgm:prSet/>
      <dgm:spPr/>
      <dgm:t>
        <a:bodyPr/>
        <a:lstStyle/>
        <a:p>
          <a:endParaRPr lang="en-GB"/>
        </a:p>
      </dgm:t>
    </dgm:pt>
    <dgm:pt modelId="{C0EB5190-8258-FE4D-925C-F9D5769B946E}" type="sibTrans" cxnId="{F69C3876-30A8-454B-93CB-3E7906A87941}">
      <dgm:prSet/>
      <dgm:spPr/>
      <dgm:t>
        <a:bodyPr/>
        <a:lstStyle/>
        <a:p>
          <a:endParaRPr lang="en-GB"/>
        </a:p>
      </dgm:t>
    </dgm:pt>
    <dgm:pt modelId="{7D5BC3B3-4624-1343-835A-71A8FDC9D45D}">
      <dgm:prSet/>
      <dgm:spPr/>
      <dgm:t>
        <a:bodyPr/>
        <a:lstStyle/>
        <a:p>
          <a:r>
            <a:rPr lang="en-GB" dirty="0"/>
            <a:t>Assess new technologies and best practices impact  </a:t>
          </a:r>
        </a:p>
      </dgm:t>
    </dgm:pt>
    <dgm:pt modelId="{9BCB87C7-CCB5-FB47-8A02-FF958B47B332}" type="parTrans" cxnId="{AF3B64E4-AB35-E34E-AF17-33A00223F697}">
      <dgm:prSet/>
      <dgm:spPr/>
      <dgm:t>
        <a:bodyPr/>
        <a:lstStyle/>
        <a:p>
          <a:endParaRPr lang="en-GB"/>
        </a:p>
      </dgm:t>
    </dgm:pt>
    <dgm:pt modelId="{A5497EF3-C3CB-534D-BA26-F33CC5070CEA}" type="sibTrans" cxnId="{AF3B64E4-AB35-E34E-AF17-33A00223F697}">
      <dgm:prSet/>
      <dgm:spPr/>
      <dgm:t>
        <a:bodyPr/>
        <a:lstStyle/>
        <a:p>
          <a:endParaRPr lang="en-GB"/>
        </a:p>
      </dgm:t>
    </dgm:pt>
    <dgm:pt modelId="{16DDB28A-CB28-F841-8856-F04EB95D4CA8}" type="pres">
      <dgm:prSet presAssocID="{5E7C0095-81AC-1642-94F0-686B15E1D94E}" presName="Name0" presStyleCnt="0">
        <dgm:presLayoutVars>
          <dgm:dir/>
          <dgm:animLvl val="lvl"/>
          <dgm:resizeHandles/>
        </dgm:presLayoutVars>
      </dgm:prSet>
      <dgm:spPr/>
    </dgm:pt>
    <dgm:pt modelId="{53F7E82D-1DAA-AF41-A4B7-C1C3E406481F}" type="pres">
      <dgm:prSet presAssocID="{29D15665-73A5-8147-8B76-46B1F2BDCBD0}" presName="linNode" presStyleCnt="0"/>
      <dgm:spPr/>
    </dgm:pt>
    <dgm:pt modelId="{11D2353A-F312-BD47-B6C1-4547CA5A0AF8}" type="pres">
      <dgm:prSet presAssocID="{29D15665-73A5-8147-8B76-46B1F2BDCBD0}" presName="parentShp" presStyleLbl="node1" presStyleIdx="0" presStyleCnt="7" custLinFactNeighborX="-4378">
        <dgm:presLayoutVars>
          <dgm:bulletEnabled val="1"/>
        </dgm:presLayoutVars>
      </dgm:prSet>
      <dgm:spPr/>
    </dgm:pt>
    <dgm:pt modelId="{F444CAC3-D86D-8F48-AFF0-FFB93F082EED}" type="pres">
      <dgm:prSet presAssocID="{29D15665-73A5-8147-8B76-46B1F2BDCBD0}" presName="childShp" presStyleLbl="bgAccFollowNode1" presStyleIdx="0" presStyleCnt="7" custScaleX="89595" custLinFactNeighborX="-6578" custLinFactNeighborY="-669">
        <dgm:presLayoutVars>
          <dgm:bulletEnabled val="1"/>
        </dgm:presLayoutVars>
      </dgm:prSet>
      <dgm:spPr/>
    </dgm:pt>
    <dgm:pt modelId="{5914BDD0-FD7C-E54D-9845-2C6E1A27B79F}" type="pres">
      <dgm:prSet presAssocID="{EC8BC9CD-2FEB-974A-B236-BCA8C1C37B00}" presName="spacing" presStyleCnt="0"/>
      <dgm:spPr/>
    </dgm:pt>
    <dgm:pt modelId="{DCF86215-E132-AD49-8BDB-60136B6F8047}" type="pres">
      <dgm:prSet presAssocID="{3F06A436-5BCF-7A4F-83BE-9476BF34F43E}" presName="linNode" presStyleCnt="0"/>
      <dgm:spPr/>
    </dgm:pt>
    <dgm:pt modelId="{C4CF7A16-3838-954B-B842-DA36C3AC4D57}" type="pres">
      <dgm:prSet presAssocID="{3F06A436-5BCF-7A4F-83BE-9476BF34F43E}" presName="parentShp" presStyleLbl="node1" presStyleIdx="1" presStyleCnt="7" custLinFactNeighborX="-3294">
        <dgm:presLayoutVars>
          <dgm:bulletEnabled val="1"/>
        </dgm:presLayoutVars>
      </dgm:prSet>
      <dgm:spPr/>
    </dgm:pt>
    <dgm:pt modelId="{0745CEB0-1299-3E49-A62E-789BB1DFBD65}" type="pres">
      <dgm:prSet presAssocID="{3F06A436-5BCF-7A4F-83BE-9476BF34F43E}" presName="childShp" presStyleLbl="bgAccFollowNode1" presStyleIdx="1" presStyleCnt="7" custScaleX="92538" custLinFactNeighborX="-4948">
        <dgm:presLayoutVars>
          <dgm:bulletEnabled val="1"/>
        </dgm:presLayoutVars>
      </dgm:prSet>
      <dgm:spPr/>
    </dgm:pt>
    <dgm:pt modelId="{25F1E021-7657-2F48-8EE2-470F4DF4A08E}" type="pres">
      <dgm:prSet presAssocID="{7DCCD54F-E794-4145-AB72-0DF12E67F761}" presName="spacing" presStyleCnt="0"/>
      <dgm:spPr/>
    </dgm:pt>
    <dgm:pt modelId="{6421DEDE-7D54-BB4A-AEFE-7126406D853D}" type="pres">
      <dgm:prSet presAssocID="{0F385FCA-9983-7542-AF1A-B4540C39A448}" presName="linNode" presStyleCnt="0"/>
      <dgm:spPr/>
    </dgm:pt>
    <dgm:pt modelId="{E7CCAA6F-C9D5-134C-8B38-0F3D9201438C}" type="pres">
      <dgm:prSet presAssocID="{0F385FCA-9983-7542-AF1A-B4540C39A448}" presName="parentShp" presStyleLbl="node1" presStyleIdx="2" presStyleCnt="7" custLinFactNeighborX="-2930">
        <dgm:presLayoutVars>
          <dgm:bulletEnabled val="1"/>
        </dgm:presLayoutVars>
      </dgm:prSet>
      <dgm:spPr/>
    </dgm:pt>
    <dgm:pt modelId="{1195413E-1BAD-A04D-A594-5EC333B41823}" type="pres">
      <dgm:prSet presAssocID="{0F385FCA-9983-7542-AF1A-B4540C39A448}" presName="childShp" presStyleLbl="bgAccFollowNode1" presStyleIdx="2" presStyleCnt="7" custScaleX="93060" custScaleY="126133" custLinFactNeighborX="-4400">
        <dgm:presLayoutVars>
          <dgm:bulletEnabled val="1"/>
        </dgm:presLayoutVars>
      </dgm:prSet>
      <dgm:spPr/>
    </dgm:pt>
    <dgm:pt modelId="{EE12B960-694E-3945-9D99-F76852F82CD8}" type="pres">
      <dgm:prSet presAssocID="{85C7D1CA-19B6-734E-BE69-2F8A34B91496}" presName="spacing" presStyleCnt="0"/>
      <dgm:spPr/>
    </dgm:pt>
    <dgm:pt modelId="{5FE7F93B-F43F-574D-B856-9278ADB68E58}" type="pres">
      <dgm:prSet presAssocID="{4BAEABB4-6CDA-5D45-88C9-5D97720DF335}" presName="linNode" presStyleCnt="0"/>
      <dgm:spPr/>
    </dgm:pt>
    <dgm:pt modelId="{06A48BE0-1443-DF4F-AA7A-F5E6DFB76CCC}" type="pres">
      <dgm:prSet presAssocID="{4BAEABB4-6CDA-5D45-88C9-5D97720DF335}" presName="parentShp" presStyleLbl="node1" presStyleIdx="3" presStyleCnt="7">
        <dgm:presLayoutVars>
          <dgm:bulletEnabled val="1"/>
        </dgm:presLayoutVars>
      </dgm:prSet>
      <dgm:spPr/>
    </dgm:pt>
    <dgm:pt modelId="{552F19B3-0421-F849-ABCE-7D4621F4C8E8}" type="pres">
      <dgm:prSet presAssocID="{4BAEABB4-6CDA-5D45-88C9-5D97720DF335}" presName="childShp" presStyleLbl="bgAccFollowNode1" presStyleIdx="3" presStyleCnt="7" custLinFactNeighborX="3504" custLinFactNeighborY="1382">
        <dgm:presLayoutVars>
          <dgm:bulletEnabled val="1"/>
        </dgm:presLayoutVars>
      </dgm:prSet>
      <dgm:spPr/>
    </dgm:pt>
    <dgm:pt modelId="{7CF77219-2472-B345-88A7-9E81990A79BF}" type="pres">
      <dgm:prSet presAssocID="{7C3B311A-4AA5-6B42-8D1E-FB6E0AB109F1}" presName="spacing" presStyleCnt="0"/>
      <dgm:spPr/>
    </dgm:pt>
    <dgm:pt modelId="{FDCC9F6A-E1B2-264E-83B2-97FECA310282}" type="pres">
      <dgm:prSet presAssocID="{CEE1899D-58A4-6241-9669-B35CA50AD773}" presName="linNode" presStyleCnt="0"/>
      <dgm:spPr/>
    </dgm:pt>
    <dgm:pt modelId="{5E883745-EC07-AF44-A529-43B4E3CB1B23}" type="pres">
      <dgm:prSet presAssocID="{CEE1899D-58A4-6241-9669-B35CA50AD773}" presName="parentShp" presStyleLbl="node1" presStyleIdx="4" presStyleCnt="7">
        <dgm:presLayoutVars>
          <dgm:bulletEnabled val="1"/>
        </dgm:presLayoutVars>
      </dgm:prSet>
      <dgm:spPr/>
    </dgm:pt>
    <dgm:pt modelId="{2F4AF56F-8F3F-AE4C-AAAA-D21AABECC52D}" type="pres">
      <dgm:prSet presAssocID="{CEE1899D-58A4-6241-9669-B35CA50AD773}" presName="childShp" presStyleLbl="bgAccFollowNode1" presStyleIdx="4" presStyleCnt="7">
        <dgm:presLayoutVars>
          <dgm:bulletEnabled val="1"/>
        </dgm:presLayoutVars>
      </dgm:prSet>
      <dgm:spPr/>
    </dgm:pt>
    <dgm:pt modelId="{8370D70C-94AC-3941-ABC4-32FB296FD023}" type="pres">
      <dgm:prSet presAssocID="{6018F717-252C-904F-A0E3-44C307470453}" presName="spacing" presStyleCnt="0"/>
      <dgm:spPr/>
    </dgm:pt>
    <dgm:pt modelId="{AB5FE2FC-B41A-9A4A-B9F6-E7954FC1FA7D}" type="pres">
      <dgm:prSet presAssocID="{F745954E-D445-984D-AEA6-76433C0DBB99}" presName="linNode" presStyleCnt="0"/>
      <dgm:spPr/>
    </dgm:pt>
    <dgm:pt modelId="{30AF27BA-56ED-7F49-AEB1-DB7C4BF2C01D}" type="pres">
      <dgm:prSet presAssocID="{F745954E-D445-984D-AEA6-76433C0DBB99}" presName="parentShp" presStyleLbl="node1" presStyleIdx="5" presStyleCnt="7">
        <dgm:presLayoutVars>
          <dgm:bulletEnabled val="1"/>
        </dgm:presLayoutVars>
      </dgm:prSet>
      <dgm:spPr/>
    </dgm:pt>
    <dgm:pt modelId="{53F18705-1D8B-8244-8822-561C327610D2}" type="pres">
      <dgm:prSet presAssocID="{F745954E-D445-984D-AEA6-76433C0DBB99}" presName="childShp" presStyleLbl="bgAccFollowNode1" presStyleIdx="5" presStyleCnt="7" custLinFactNeighborX="3823" custLinFactNeighborY="2763">
        <dgm:presLayoutVars>
          <dgm:bulletEnabled val="1"/>
        </dgm:presLayoutVars>
      </dgm:prSet>
      <dgm:spPr/>
    </dgm:pt>
    <dgm:pt modelId="{E0468BBC-45AC-154F-8F96-13CC91B20062}" type="pres">
      <dgm:prSet presAssocID="{EB0E4B08-4A7D-B847-AD92-1985A8860E18}" presName="spacing" presStyleCnt="0"/>
      <dgm:spPr/>
    </dgm:pt>
    <dgm:pt modelId="{38222A86-E1FF-1548-A081-E1BACDFEA468}" type="pres">
      <dgm:prSet presAssocID="{00F21279-E401-DF4B-8814-AB925B94E74B}" presName="linNode" presStyleCnt="0"/>
      <dgm:spPr/>
    </dgm:pt>
    <dgm:pt modelId="{02F976DE-4FEE-7545-A5C0-02FC8478BE08}" type="pres">
      <dgm:prSet presAssocID="{00F21279-E401-DF4B-8814-AB925B94E74B}" presName="parentShp" presStyleLbl="node1" presStyleIdx="6" presStyleCnt="7">
        <dgm:presLayoutVars>
          <dgm:bulletEnabled val="1"/>
        </dgm:presLayoutVars>
      </dgm:prSet>
      <dgm:spPr/>
    </dgm:pt>
    <dgm:pt modelId="{87A44736-5F01-4A4E-B3FF-8F71B39D4E2A}" type="pres">
      <dgm:prSet presAssocID="{00F21279-E401-DF4B-8814-AB925B94E74B}" presName="childShp" presStyleLbl="bgAccFollowNode1" presStyleIdx="6" presStyleCnt="7">
        <dgm:presLayoutVars>
          <dgm:bulletEnabled val="1"/>
        </dgm:presLayoutVars>
      </dgm:prSet>
      <dgm:spPr/>
    </dgm:pt>
  </dgm:ptLst>
  <dgm:cxnLst>
    <dgm:cxn modelId="{2C4AB504-F500-DD40-B678-24BA727C0C6D}" srcId="{CEE1899D-58A4-6241-9669-B35CA50AD773}" destId="{AEC5098C-9DE0-8245-A0A3-880AACB65F9C}" srcOrd="2" destOrd="0" parTransId="{D5B7FB0A-FB11-234B-B982-29DC3AEA4B1B}" sibTransId="{3A71DA3B-A6E0-B148-8949-3CAEA7E8918B}"/>
    <dgm:cxn modelId="{A8B8610B-C920-8F4F-9F16-9B6031186A3B}" srcId="{F745954E-D445-984D-AEA6-76433C0DBB99}" destId="{A726275B-45DA-5244-8115-76888758EEB1}" srcOrd="2" destOrd="0" parTransId="{B53B53D7-45F1-8243-918C-C3F470E450C2}" sibTransId="{4373178F-4053-0141-9BB7-E9FC0B7FFF00}"/>
    <dgm:cxn modelId="{E6FCBC0E-CEAD-1E42-BE06-4EAB471903A5}" srcId="{5E7C0095-81AC-1642-94F0-686B15E1D94E}" destId="{F745954E-D445-984D-AEA6-76433C0DBB99}" srcOrd="5" destOrd="0" parTransId="{24579C04-EE8E-224C-A715-FF1DFB8DD29A}" sibTransId="{EB0E4B08-4A7D-B847-AD92-1985A8860E18}"/>
    <dgm:cxn modelId="{52D10213-39FE-ED42-ACD7-62DA3A96DB00}" type="presOf" srcId="{5E7C0095-81AC-1642-94F0-686B15E1D94E}" destId="{16DDB28A-CB28-F841-8856-F04EB95D4CA8}" srcOrd="0" destOrd="0" presId="urn:microsoft.com/office/officeart/2005/8/layout/vList6"/>
    <dgm:cxn modelId="{7CB36C14-9A39-E14B-BA91-395772E4B1FB}" type="presOf" srcId="{6D8DBF11-13AE-F04C-9FC3-C65E7AEC0598}" destId="{0745CEB0-1299-3E49-A62E-789BB1DFBD65}" srcOrd="0" destOrd="2" presId="urn:microsoft.com/office/officeart/2005/8/layout/vList6"/>
    <dgm:cxn modelId="{71D37517-1D16-FA43-BD47-3BB5C14A6D92}" type="presOf" srcId="{8797DA10-77B6-294A-A74A-F44310AF9B46}" destId="{2F4AF56F-8F3F-AE4C-AAAA-D21AABECC52D}" srcOrd="0" destOrd="4" presId="urn:microsoft.com/office/officeart/2005/8/layout/vList6"/>
    <dgm:cxn modelId="{538F321D-D82F-6144-80AF-CAB9318120B5}" type="presOf" srcId="{00F21279-E401-DF4B-8814-AB925B94E74B}" destId="{02F976DE-4FEE-7545-A5C0-02FC8478BE08}" srcOrd="0" destOrd="0" presId="urn:microsoft.com/office/officeart/2005/8/layout/vList6"/>
    <dgm:cxn modelId="{2D64A91E-D8DE-8241-A20E-DF66B644EB92}" srcId="{3F06A436-5BCF-7A4F-83BE-9476BF34F43E}" destId="{6D8DBF11-13AE-F04C-9FC3-C65E7AEC0598}" srcOrd="2" destOrd="0" parTransId="{A942E0B9-DE80-5E47-B346-48847FE5A025}" sibTransId="{D80C385E-8F0D-6C4C-9604-2145D7379274}"/>
    <dgm:cxn modelId="{7CCE2B20-F193-A740-AE8A-2ACCFA3B1C65}" srcId="{0F385FCA-9983-7542-AF1A-B4540C39A448}" destId="{99E69397-D7B4-B14B-B009-00AA1637A4AC}" srcOrd="4" destOrd="0" parTransId="{67F776F8-081B-F340-9519-BBCEC8756D33}" sibTransId="{5B0FF7C2-E2B8-EC47-83EC-EA7332E4C068}"/>
    <dgm:cxn modelId="{E7BC9A20-7041-4542-87E8-D461C1754D77}" type="presOf" srcId="{D5D31994-EDB7-144C-86E5-28682AEE3F37}" destId="{2F4AF56F-8F3F-AE4C-AAAA-D21AABECC52D}" srcOrd="0" destOrd="3" presId="urn:microsoft.com/office/officeart/2005/8/layout/vList6"/>
    <dgm:cxn modelId="{E4FB3521-D2AE-254C-B88F-BAE55AD8D978}" type="presOf" srcId="{159FE636-B7AD-C340-946E-6164945FA31F}" destId="{552F19B3-0421-F849-ABCE-7D4621F4C8E8}" srcOrd="0" destOrd="0" presId="urn:microsoft.com/office/officeart/2005/8/layout/vList6"/>
    <dgm:cxn modelId="{E7C84421-3D39-8B43-B9F3-6596EEF59E64}" type="presOf" srcId="{B04D7351-4C30-394E-8B6E-D4ABD5EB845B}" destId="{1195413E-1BAD-A04D-A594-5EC333B41823}" srcOrd="0" destOrd="0" presId="urn:microsoft.com/office/officeart/2005/8/layout/vList6"/>
    <dgm:cxn modelId="{5B4F062C-5FE4-144E-938B-AB447E445F9D}" type="presOf" srcId="{756A6463-5B4E-B44C-BB24-9B6D8A8C1E12}" destId="{F444CAC3-D86D-8F48-AFF0-FFB93F082EED}" srcOrd="0" destOrd="0" presId="urn:microsoft.com/office/officeart/2005/8/layout/vList6"/>
    <dgm:cxn modelId="{6318452F-FEA9-C64A-976F-11A0A11D7415}" type="presOf" srcId="{FB85EC5B-01B8-6A4E-B43B-6B13FAF8F369}" destId="{1195413E-1BAD-A04D-A594-5EC333B41823}" srcOrd="0" destOrd="3" presId="urn:microsoft.com/office/officeart/2005/8/layout/vList6"/>
    <dgm:cxn modelId="{64ED8A32-608E-674F-B6A7-CC0766FC5CA3}" type="presOf" srcId="{EA116895-A7F9-284A-BB5D-77B2C811C6C3}" destId="{1195413E-1BAD-A04D-A594-5EC333B41823}" srcOrd="0" destOrd="1" presId="urn:microsoft.com/office/officeart/2005/8/layout/vList6"/>
    <dgm:cxn modelId="{153B263D-A58C-9C45-9E2A-03E4AF853940}" type="presOf" srcId="{29D15665-73A5-8147-8B76-46B1F2BDCBD0}" destId="{11D2353A-F312-BD47-B6C1-4547CA5A0AF8}" srcOrd="0" destOrd="0" presId="urn:microsoft.com/office/officeart/2005/8/layout/vList6"/>
    <dgm:cxn modelId="{5F252B41-9860-E443-B0BF-B69DD62916B2}" srcId="{0F385FCA-9983-7542-AF1A-B4540C39A448}" destId="{FB85EC5B-01B8-6A4E-B43B-6B13FAF8F369}" srcOrd="3" destOrd="0" parTransId="{A83C7F8F-08DE-1E42-A407-F43B38B285DD}" sibTransId="{D3C00A21-9934-AA46-92F0-D86F61780915}"/>
    <dgm:cxn modelId="{9BB18646-C71A-6047-AF5E-A51FDC3BAB87}" type="presOf" srcId="{0F385FCA-9983-7542-AF1A-B4540C39A448}" destId="{E7CCAA6F-C9D5-134C-8B38-0F3D9201438C}" srcOrd="0" destOrd="0" presId="urn:microsoft.com/office/officeart/2005/8/layout/vList6"/>
    <dgm:cxn modelId="{85F5FE46-69FD-AC4A-95B8-A6A5C26B1FB4}" srcId="{CEE1899D-58A4-6241-9669-B35CA50AD773}" destId="{8797DA10-77B6-294A-A74A-F44310AF9B46}" srcOrd="4" destOrd="0" parTransId="{EE7C4F7D-B104-2648-A8DA-6A84CB46551A}" sibTransId="{5EDEDBE8-C22D-BC4C-AD75-812787DAE2FF}"/>
    <dgm:cxn modelId="{2387D64A-C737-934E-B7EF-E6554B4015E4}" srcId="{F745954E-D445-984D-AEA6-76433C0DBB99}" destId="{36950E2F-80D0-1F46-8994-B2FFAA3A4E3C}" srcOrd="3" destOrd="0" parTransId="{8B40095A-C7C7-824B-8FBC-CABA4184B645}" sibTransId="{17D1B16A-6D2A-EC49-A489-7AF3281752E8}"/>
    <dgm:cxn modelId="{8EE3964B-75C0-3A49-A812-27D685C270D0}" type="presOf" srcId="{AEC5098C-9DE0-8245-A0A3-880AACB65F9C}" destId="{2F4AF56F-8F3F-AE4C-AAAA-D21AABECC52D}" srcOrd="0" destOrd="2" presId="urn:microsoft.com/office/officeart/2005/8/layout/vList6"/>
    <dgm:cxn modelId="{671A484D-912C-2546-8050-2205CCA04476}" type="presOf" srcId="{CA407D6B-32CB-9241-A9A9-44E2C66D8370}" destId="{1195413E-1BAD-A04D-A594-5EC333B41823}" srcOrd="0" destOrd="2" presId="urn:microsoft.com/office/officeart/2005/8/layout/vList6"/>
    <dgm:cxn modelId="{D2EFF952-6D12-8142-A2F5-F98F012BC9BE}" type="presOf" srcId="{340D5AA5-5999-154E-8863-F982D01169D8}" destId="{87A44736-5F01-4A4E-B3FF-8F71B39D4E2A}" srcOrd="0" destOrd="0" presId="urn:microsoft.com/office/officeart/2005/8/layout/vList6"/>
    <dgm:cxn modelId="{29E14755-829D-9747-8127-D7CD02B049C6}" type="presOf" srcId="{0DA18509-E066-AC4A-8172-65C2D15DA8D5}" destId="{53F18705-1D8B-8244-8822-561C327610D2}" srcOrd="0" destOrd="0" presId="urn:microsoft.com/office/officeart/2005/8/layout/vList6"/>
    <dgm:cxn modelId="{E75BA655-1640-DD44-8815-7B5E230080C8}" type="presOf" srcId="{36950E2F-80D0-1F46-8994-B2FFAA3A4E3C}" destId="{53F18705-1D8B-8244-8822-561C327610D2}" srcOrd="0" destOrd="3" presId="urn:microsoft.com/office/officeart/2005/8/layout/vList6"/>
    <dgm:cxn modelId="{82B8C958-C940-D04E-8984-A7BB1AF732BE}" type="presOf" srcId="{4BAEABB4-6CDA-5D45-88C9-5D97720DF335}" destId="{06A48BE0-1443-DF4F-AA7A-F5E6DFB76CCC}" srcOrd="0" destOrd="0" presId="urn:microsoft.com/office/officeart/2005/8/layout/vList6"/>
    <dgm:cxn modelId="{85E7F65D-8B36-C942-9813-35748B6A1D34}" srcId="{29D15665-73A5-8147-8B76-46B1F2BDCBD0}" destId="{586E7CC4-1F4E-C042-9A56-0DA00C5AF576}" srcOrd="3" destOrd="0" parTransId="{96C06B16-D78A-214B-A70D-4FDA44087809}" sibTransId="{052AB8FD-E9D5-9E49-AA21-204478803BFC}"/>
    <dgm:cxn modelId="{61260D67-CA6E-EF46-AF2B-92E79A91B4D2}" type="presOf" srcId="{A0E56CBE-DB69-4F41-9BFB-9ABC8FC785D6}" destId="{F444CAC3-D86D-8F48-AFF0-FFB93F082EED}" srcOrd="0" destOrd="1" presId="urn:microsoft.com/office/officeart/2005/8/layout/vList6"/>
    <dgm:cxn modelId="{64663D6A-A80C-4348-A444-7B4E35E8BB36}" type="presOf" srcId="{B01D5EAC-424D-B94D-B6D8-DCC0351E697D}" destId="{2F4AF56F-8F3F-AE4C-AAAA-D21AABECC52D}" srcOrd="0" destOrd="0" presId="urn:microsoft.com/office/officeart/2005/8/layout/vList6"/>
    <dgm:cxn modelId="{50CF5A6B-95FA-7146-9884-82C15133A5CE}" srcId="{0F385FCA-9983-7542-AF1A-B4540C39A448}" destId="{3EB777B7-1BEB-DD4A-B31F-CE3968A82114}" srcOrd="5" destOrd="0" parTransId="{F9483599-51E3-0843-858F-0F4E55D39CCA}" sibTransId="{E16B41B4-0987-E345-B4EF-8AA47F6FB894}"/>
    <dgm:cxn modelId="{B3C44A70-8A65-FF42-AD26-F6B67E6890FF}" type="presOf" srcId="{9434F549-DB48-E54E-BBFC-376EFFA583DE}" destId="{552F19B3-0421-F849-ABCE-7D4621F4C8E8}" srcOrd="0" destOrd="2" presId="urn:microsoft.com/office/officeart/2005/8/layout/vList6"/>
    <dgm:cxn modelId="{608BEB70-8C89-D340-9199-7AFFF2B1664B}" srcId="{CEE1899D-58A4-6241-9669-B35CA50AD773}" destId="{B01D5EAC-424D-B94D-B6D8-DCC0351E697D}" srcOrd="0" destOrd="0" parTransId="{24275B60-8F75-D148-95CC-59C4986A6C35}" sibTransId="{9FE6AD50-8946-BD45-931C-A1206C15AD27}"/>
    <dgm:cxn modelId="{26903C71-02A7-6E46-B800-584B3ECF9BCE}" srcId="{5E7C0095-81AC-1642-94F0-686B15E1D94E}" destId="{00F21279-E401-DF4B-8814-AB925B94E74B}" srcOrd="6" destOrd="0" parTransId="{81545B74-3E50-5849-9374-8D2C4EAFEECC}" sibTransId="{073E7AB7-7D5D-4942-83C4-F9097299A84C}"/>
    <dgm:cxn modelId="{F69C3876-30A8-454B-93CB-3E7906A87941}" srcId="{00F21279-E401-DF4B-8814-AB925B94E74B}" destId="{391CC720-0650-D64D-8E43-61FEF56E7CDA}" srcOrd="1" destOrd="0" parTransId="{E131BA24-91DA-2647-A365-15EE49C311FF}" sibTransId="{C0EB5190-8258-FE4D-925C-F9D5769B946E}"/>
    <dgm:cxn modelId="{72E0AB87-C64C-6B4F-A098-9E188EEC6CCC}" srcId="{5E7C0095-81AC-1642-94F0-686B15E1D94E}" destId="{CEE1899D-58A4-6241-9669-B35CA50AD773}" srcOrd="4" destOrd="0" parTransId="{83E3301A-9F79-DB4C-8E7D-D2362D5F02D9}" sibTransId="{6018F717-252C-904F-A0E3-44C307470453}"/>
    <dgm:cxn modelId="{9FCE628E-CE92-5747-938B-B2896C705A10}" type="presOf" srcId="{586E7CC4-1F4E-C042-9A56-0DA00C5AF576}" destId="{F444CAC3-D86D-8F48-AFF0-FFB93F082EED}" srcOrd="0" destOrd="3" presId="urn:microsoft.com/office/officeart/2005/8/layout/vList6"/>
    <dgm:cxn modelId="{59806B93-50B7-AC4B-98FA-FB6C2194DCC5}" type="presOf" srcId="{A726275B-45DA-5244-8115-76888758EEB1}" destId="{53F18705-1D8B-8244-8822-561C327610D2}" srcOrd="0" destOrd="2" presId="urn:microsoft.com/office/officeart/2005/8/layout/vList6"/>
    <dgm:cxn modelId="{BA4B4196-AB69-3B49-8581-BE9A7633F5DD}" srcId="{5E7C0095-81AC-1642-94F0-686B15E1D94E}" destId="{29D15665-73A5-8147-8B76-46B1F2BDCBD0}" srcOrd="0" destOrd="0" parTransId="{93A4F822-694D-3446-BF11-61E5DEB4CC5B}" sibTransId="{EC8BC9CD-2FEB-974A-B236-BCA8C1C37B00}"/>
    <dgm:cxn modelId="{F70D9597-01B9-2D4D-A5EE-5BD4FB98CDA3}" type="presOf" srcId="{B18155C8-D5A5-E14E-8320-A7E6CBE388D8}" destId="{2F4AF56F-8F3F-AE4C-AAAA-D21AABECC52D}" srcOrd="0" destOrd="1" presId="urn:microsoft.com/office/officeart/2005/8/layout/vList6"/>
    <dgm:cxn modelId="{8BF2E398-7E1F-5D4B-8A2F-82B8639CA5F9}" type="presOf" srcId="{DA351F4D-7096-D246-BBD9-0307F46859EB}" destId="{0745CEB0-1299-3E49-A62E-789BB1DFBD65}" srcOrd="0" destOrd="1" presId="urn:microsoft.com/office/officeart/2005/8/layout/vList6"/>
    <dgm:cxn modelId="{C87BBC9C-CC71-EB44-BBE7-D12B7FC87AB3}" srcId="{5E7C0095-81AC-1642-94F0-686B15E1D94E}" destId="{4BAEABB4-6CDA-5D45-88C9-5D97720DF335}" srcOrd="3" destOrd="0" parTransId="{B0C4959E-B29D-A44B-BE94-C2953141E90A}" sibTransId="{7C3B311A-4AA5-6B42-8D1E-FB6E0AB109F1}"/>
    <dgm:cxn modelId="{0258F29F-0A7F-8F4E-B504-3423AE5E548F}" srcId="{5E7C0095-81AC-1642-94F0-686B15E1D94E}" destId="{3F06A436-5BCF-7A4F-83BE-9476BF34F43E}" srcOrd="1" destOrd="0" parTransId="{6D072C05-0669-0D4C-8B1C-FC8DE41ADA73}" sibTransId="{7DCCD54F-E794-4145-AB72-0DF12E67F761}"/>
    <dgm:cxn modelId="{8C5CEAA2-F16C-5042-991A-7F753CF1DEFB}" srcId="{0F385FCA-9983-7542-AF1A-B4540C39A448}" destId="{CA407D6B-32CB-9241-A9A9-44E2C66D8370}" srcOrd="2" destOrd="0" parTransId="{4A062090-6297-3040-BF6B-7A74D0919AF9}" sibTransId="{65750E75-2764-2142-8290-F289064B3EAD}"/>
    <dgm:cxn modelId="{D93522A5-D951-974F-B4A9-601ABA737619}" srcId="{29D15665-73A5-8147-8B76-46B1F2BDCBD0}" destId="{756A6463-5B4E-B44C-BB24-9B6D8A8C1E12}" srcOrd="0" destOrd="0" parTransId="{F10691A8-15CD-A44C-8CDE-92DCF48CF0FE}" sibTransId="{A8990EE4-3F60-0148-B57D-96D21CA0F70D}"/>
    <dgm:cxn modelId="{BFBD55A7-D4E3-7E48-BA53-60DACB7FC173}" type="presOf" srcId="{37707521-D5F3-C64A-AD1A-5F4C37E35402}" destId="{0745CEB0-1299-3E49-A62E-789BB1DFBD65}" srcOrd="0" destOrd="0" presId="urn:microsoft.com/office/officeart/2005/8/layout/vList6"/>
    <dgm:cxn modelId="{2C1D79A8-C7C6-E54E-81E5-06770C47740D}" srcId="{4BAEABB4-6CDA-5D45-88C9-5D97720DF335}" destId="{66459D45-5B0E-F84A-B84B-91491ED03FE8}" srcOrd="1" destOrd="0" parTransId="{7207384E-E682-954D-8F0F-C815F6F25137}" sibTransId="{157A2530-9E7D-B646-AF36-681FBFE84A1A}"/>
    <dgm:cxn modelId="{70B180A9-A6BC-B848-9FE4-BC843FC44C78}" srcId="{4BAEABB4-6CDA-5D45-88C9-5D97720DF335}" destId="{9434F549-DB48-E54E-BBFC-376EFFA583DE}" srcOrd="2" destOrd="0" parTransId="{2610A106-A956-9A47-978C-8ABB752AFCE4}" sibTransId="{9C96AFBF-DA7F-1345-AACD-F1953F339672}"/>
    <dgm:cxn modelId="{B717CDAA-9A5F-F940-9013-D4A334E93BF9}" srcId="{CEE1899D-58A4-6241-9669-B35CA50AD773}" destId="{D5D31994-EDB7-144C-86E5-28682AEE3F37}" srcOrd="3" destOrd="0" parTransId="{CBC7EB43-E0A0-6647-B41A-8853EB8AB1C7}" sibTransId="{EE6D4F55-4F1C-D349-A4D8-135543BE2FFE}"/>
    <dgm:cxn modelId="{9F439AAB-89FC-6D4D-93E4-1D3B9E5C939B}" srcId="{3F06A436-5BCF-7A4F-83BE-9476BF34F43E}" destId="{37707521-D5F3-C64A-AD1A-5F4C37E35402}" srcOrd="0" destOrd="0" parTransId="{D656F1BE-86B7-7C4F-ADD3-E96FD6AAAE72}" sibTransId="{735FC5FC-4C44-5242-9BC3-42B5C3785C8A}"/>
    <dgm:cxn modelId="{022BECB3-E30E-F744-B713-058C7FBB5D9E}" type="presOf" srcId="{99E69397-D7B4-B14B-B009-00AA1637A4AC}" destId="{1195413E-1BAD-A04D-A594-5EC333B41823}" srcOrd="0" destOrd="4" presId="urn:microsoft.com/office/officeart/2005/8/layout/vList6"/>
    <dgm:cxn modelId="{3467EFB3-6B58-BD47-BBCF-CA3D6205BE3D}" srcId="{0F385FCA-9983-7542-AF1A-B4540C39A448}" destId="{EA116895-A7F9-284A-BB5D-77B2C811C6C3}" srcOrd="1" destOrd="0" parTransId="{12031189-AECF-6449-8481-331DFD509924}" sibTransId="{E012BBD5-0C18-0F4C-9A14-D08BB7CECAD1}"/>
    <dgm:cxn modelId="{DD2CD4B5-2E25-D345-8B7E-7B3B03C8B589}" type="presOf" srcId="{3EB777B7-1BEB-DD4A-B31F-CE3968A82114}" destId="{1195413E-1BAD-A04D-A594-5EC333B41823}" srcOrd="0" destOrd="5" presId="urn:microsoft.com/office/officeart/2005/8/layout/vList6"/>
    <dgm:cxn modelId="{D0425AB6-0E51-DC45-920B-B8345A1E0D27}" type="presOf" srcId="{CEE1899D-58A4-6241-9669-B35CA50AD773}" destId="{5E883745-EC07-AF44-A529-43B4E3CB1B23}" srcOrd="0" destOrd="0" presId="urn:microsoft.com/office/officeart/2005/8/layout/vList6"/>
    <dgm:cxn modelId="{2524AEC6-62C0-BC42-B6AF-0AE88F9B5074}" type="presOf" srcId="{3F06A436-5BCF-7A4F-83BE-9476BF34F43E}" destId="{C4CF7A16-3838-954B-B842-DA36C3AC4D57}" srcOrd="0" destOrd="0" presId="urn:microsoft.com/office/officeart/2005/8/layout/vList6"/>
    <dgm:cxn modelId="{F99531C9-C89A-614B-BE44-4076663BF28B}" type="presOf" srcId="{BC1031F5-8BA2-5343-8FC2-87B3B770ADC8}" destId="{53F18705-1D8B-8244-8822-561C327610D2}" srcOrd="0" destOrd="1" presId="urn:microsoft.com/office/officeart/2005/8/layout/vList6"/>
    <dgm:cxn modelId="{7CD3B7CC-C945-334A-9E31-BE9F8062AB55}" type="presOf" srcId="{16BF9700-539C-884B-A01E-94977401647D}" destId="{F444CAC3-D86D-8F48-AFF0-FFB93F082EED}" srcOrd="0" destOrd="2" presId="urn:microsoft.com/office/officeart/2005/8/layout/vList6"/>
    <dgm:cxn modelId="{BCDB7FD1-BF2C-CA46-A3AA-C0AD06DB73CA}" srcId="{00F21279-E401-DF4B-8814-AB925B94E74B}" destId="{340D5AA5-5999-154E-8863-F982D01169D8}" srcOrd="0" destOrd="0" parTransId="{1F6CDDB3-8D4F-EB48-B795-FEE9475FD200}" sibTransId="{520C8D8B-A0B0-3949-94A1-0DF9E73FEDE3}"/>
    <dgm:cxn modelId="{7FF1D0D3-EDA2-374C-9074-C79B4BF4285E}" srcId="{3F06A436-5BCF-7A4F-83BE-9476BF34F43E}" destId="{DA351F4D-7096-D246-BBD9-0307F46859EB}" srcOrd="1" destOrd="0" parTransId="{98EB9A6C-D18A-5E40-BC50-4655BCB855DD}" sibTransId="{2356FB87-D3CE-E74A-9976-B26FBA354E8E}"/>
    <dgm:cxn modelId="{9A393CD7-F723-9F47-90EF-668B5EFD02EA}" srcId="{CEE1899D-58A4-6241-9669-B35CA50AD773}" destId="{B18155C8-D5A5-E14E-8320-A7E6CBE388D8}" srcOrd="1" destOrd="0" parTransId="{BB951861-C484-6E47-9328-20B09E731B06}" sibTransId="{11A267B7-3648-0949-B34D-74FBFD91963F}"/>
    <dgm:cxn modelId="{2DB345D7-9E10-0B45-BF89-302317C9A741}" type="presOf" srcId="{391CC720-0650-D64D-8E43-61FEF56E7CDA}" destId="{87A44736-5F01-4A4E-B3FF-8F71B39D4E2A}" srcOrd="0" destOrd="1" presId="urn:microsoft.com/office/officeart/2005/8/layout/vList6"/>
    <dgm:cxn modelId="{73AA18D8-AB51-6A4D-BEEB-E59A2455B1CB}" srcId="{F745954E-D445-984D-AEA6-76433C0DBB99}" destId="{0DA18509-E066-AC4A-8172-65C2D15DA8D5}" srcOrd="0" destOrd="0" parTransId="{B809F047-7CA9-1440-89F8-6E214288095B}" sibTransId="{0F4FB695-DD70-4044-857D-47B62FA8E912}"/>
    <dgm:cxn modelId="{5D5ED3D8-44A1-A243-B3EC-13F1CD46811A}" srcId="{0F385FCA-9983-7542-AF1A-B4540C39A448}" destId="{B04D7351-4C30-394E-8B6E-D4ABD5EB845B}" srcOrd="0" destOrd="0" parTransId="{A4AFA13C-DC9C-2D4E-A171-60CD6DBDBCF3}" sibTransId="{5F4E199B-B60B-3545-84D1-C875C663651E}"/>
    <dgm:cxn modelId="{441407DF-AA6B-A742-A7DC-01CC38E9D2F6}" srcId="{F745954E-D445-984D-AEA6-76433C0DBB99}" destId="{BC1031F5-8BA2-5343-8FC2-87B3B770ADC8}" srcOrd="1" destOrd="0" parTransId="{43667D77-FFE3-6B4A-99D3-9D1499BDF305}" sibTransId="{5DC47974-07A5-2D41-950A-6BD3A393DD08}"/>
    <dgm:cxn modelId="{126457DF-5219-ED4D-BD72-2F05A7508250}" srcId="{5E7C0095-81AC-1642-94F0-686B15E1D94E}" destId="{0F385FCA-9983-7542-AF1A-B4540C39A448}" srcOrd="2" destOrd="0" parTransId="{95CAE161-ADD2-E249-A0BA-E165810ABED6}" sibTransId="{85C7D1CA-19B6-734E-BE69-2F8A34B91496}"/>
    <dgm:cxn modelId="{4AD2BEDF-C47E-754F-9831-F5B9D401FEE6}" srcId="{29D15665-73A5-8147-8B76-46B1F2BDCBD0}" destId="{A0E56CBE-DB69-4F41-9BFB-9ABC8FC785D6}" srcOrd="1" destOrd="0" parTransId="{F9DE4FAA-89D5-1940-BAB7-9C797998D36C}" sibTransId="{91A8BA58-1D01-2A48-8920-93E83A3B0F9D}"/>
    <dgm:cxn modelId="{1F3861E1-332F-8748-8768-AAD21FBCDD1E}" type="presOf" srcId="{F745954E-D445-984D-AEA6-76433C0DBB99}" destId="{30AF27BA-56ED-7F49-AEB1-DB7C4BF2C01D}" srcOrd="0" destOrd="0" presId="urn:microsoft.com/office/officeart/2005/8/layout/vList6"/>
    <dgm:cxn modelId="{AF3B64E4-AB35-E34E-AF17-33A00223F697}" srcId="{00F21279-E401-DF4B-8814-AB925B94E74B}" destId="{7D5BC3B3-4624-1343-835A-71A8FDC9D45D}" srcOrd="2" destOrd="0" parTransId="{9BCB87C7-CCB5-FB47-8A02-FF958B47B332}" sibTransId="{A5497EF3-C3CB-534D-BA26-F33CC5070CEA}"/>
    <dgm:cxn modelId="{A0A604F2-D3AD-004F-994D-549437A5D6D5}" srcId="{4BAEABB4-6CDA-5D45-88C9-5D97720DF335}" destId="{159FE636-B7AD-C340-946E-6164945FA31F}" srcOrd="0" destOrd="0" parTransId="{FD806B01-4588-0445-9D44-B95B1DD0C95B}" sibTransId="{1604C9B5-04B9-3943-96E0-B50470EC2FF7}"/>
    <dgm:cxn modelId="{36F51BF8-C099-954E-A90F-A8D33A51D98B}" type="presOf" srcId="{7D5BC3B3-4624-1343-835A-71A8FDC9D45D}" destId="{87A44736-5F01-4A4E-B3FF-8F71B39D4E2A}" srcOrd="0" destOrd="2" presId="urn:microsoft.com/office/officeart/2005/8/layout/vList6"/>
    <dgm:cxn modelId="{A5C244F8-CBCB-E74A-9DB3-E68D8816AE76}" srcId="{29D15665-73A5-8147-8B76-46B1F2BDCBD0}" destId="{16BF9700-539C-884B-A01E-94977401647D}" srcOrd="2" destOrd="0" parTransId="{2F92CB14-2605-5E4D-A146-DB9E5F5B09CE}" sibTransId="{74E38127-1E93-1242-8F8F-1D15A3234F7D}"/>
    <dgm:cxn modelId="{1AD9F9FF-5CD2-5842-BE06-42CDFA2144F3}" type="presOf" srcId="{66459D45-5B0E-F84A-B84B-91491ED03FE8}" destId="{552F19B3-0421-F849-ABCE-7D4621F4C8E8}" srcOrd="0" destOrd="1" presId="urn:microsoft.com/office/officeart/2005/8/layout/vList6"/>
    <dgm:cxn modelId="{7C9D7F07-3A07-834C-8A04-5F97282D0CAC}" type="presParOf" srcId="{16DDB28A-CB28-F841-8856-F04EB95D4CA8}" destId="{53F7E82D-1DAA-AF41-A4B7-C1C3E406481F}" srcOrd="0" destOrd="0" presId="urn:microsoft.com/office/officeart/2005/8/layout/vList6"/>
    <dgm:cxn modelId="{C909DBE3-C193-7A48-BC51-D6E689ACAC7E}" type="presParOf" srcId="{53F7E82D-1DAA-AF41-A4B7-C1C3E406481F}" destId="{11D2353A-F312-BD47-B6C1-4547CA5A0AF8}" srcOrd="0" destOrd="0" presId="urn:microsoft.com/office/officeart/2005/8/layout/vList6"/>
    <dgm:cxn modelId="{425BE8D1-A0C1-9B43-B6CB-9AC7DBD4D93A}" type="presParOf" srcId="{53F7E82D-1DAA-AF41-A4B7-C1C3E406481F}" destId="{F444CAC3-D86D-8F48-AFF0-FFB93F082EED}" srcOrd="1" destOrd="0" presId="urn:microsoft.com/office/officeart/2005/8/layout/vList6"/>
    <dgm:cxn modelId="{930A51E0-0FDC-6346-AE54-6B9196BDB80C}" type="presParOf" srcId="{16DDB28A-CB28-F841-8856-F04EB95D4CA8}" destId="{5914BDD0-FD7C-E54D-9845-2C6E1A27B79F}" srcOrd="1" destOrd="0" presId="urn:microsoft.com/office/officeart/2005/8/layout/vList6"/>
    <dgm:cxn modelId="{B4AD9F02-6FE6-C24C-BED5-3EEE3C359B7C}" type="presParOf" srcId="{16DDB28A-CB28-F841-8856-F04EB95D4CA8}" destId="{DCF86215-E132-AD49-8BDB-60136B6F8047}" srcOrd="2" destOrd="0" presId="urn:microsoft.com/office/officeart/2005/8/layout/vList6"/>
    <dgm:cxn modelId="{D620EC20-350A-844F-880A-9277E73CC7E7}" type="presParOf" srcId="{DCF86215-E132-AD49-8BDB-60136B6F8047}" destId="{C4CF7A16-3838-954B-B842-DA36C3AC4D57}" srcOrd="0" destOrd="0" presId="urn:microsoft.com/office/officeart/2005/8/layout/vList6"/>
    <dgm:cxn modelId="{6F51F9CC-C532-974A-8A05-A8471AA00F66}" type="presParOf" srcId="{DCF86215-E132-AD49-8BDB-60136B6F8047}" destId="{0745CEB0-1299-3E49-A62E-789BB1DFBD65}" srcOrd="1" destOrd="0" presId="urn:microsoft.com/office/officeart/2005/8/layout/vList6"/>
    <dgm:cxn modelId="{D3D53C19-172F-4140-9BE1-9E0A441BF69F}" type="presParOf" srcId="{16DDB28A-CB28-F841-8856-F04EB95D4CA8}" destId="{25F1E021-7657-2F48-8EE2-470F4DF4A08E}" srcOrd="3" destOrd="0" presId="urn:microsoft.com/office/officeart/2005/8/layout/vList6"/>
    <dgm:cxn modelId="{4843F2C1-BEE6-8A4C-BD37-EB6A52426686}" type="presParOf" srcId="{16DDB28A-CB28-F841-8856-F04EB95D4CA8}" destId="{6421DEDE-7D54-BB4A-AEFE-7126406D853D}" srcOrd="4" destOrd="0" presId="urn:microsoft.com/office/officeart/2005/8/layout/vList6"/>
    <dgm:cxn modelId="{6A32885E-46CC-0A41-A9CF-09E35096E305}" type="presParOf" srcId="{6421DEDE-7D54-BB4A-AEFE-7126406D853D}" destId="{E7CCAA6F-C9D5-134C-8B38-0F3D9201438C}" srcOrd="0" destOrd="0" presId="urn:microsoft.com/office/officeart/2005/8/layout/vList6"/>
    <dgm:cxn modelId="{EC7DEF6E-F0DB-174A-8147-848DF41CD60D}" type="presParOf" srcId="{6421DEDE-7D54-BB4A-AEFE-7126406D853D}" destId="{1195413E-1BAD-A04D-A594-5EC333B41823}" srcOrd="1" destOrd="0" presId="urn:microsoft.com/office/officeart/2005/8/layout/vList6"/>
    <dgm:cxn modelId="{6D850C5D-221B-AF46-841B-4582FEC485BA}" type="presParOf" srcId="{16DDB28A-CB28-F841-8856-F04EB95D4CA8}" destId="{EE12B960-694E-3945-9D99-F76852F82CD8}" srcOrd="5" destOrd="0" presId="urn:microsoft.com/office/officeart/2005/8/layout/vList6"/>
    <dgm:cxn modelId="{48CC9753-6DC6-104B-B4F6-07F396D09B75}" type="presParOf" srcId="{16DDB28A-CB28-F841-8856-F04EB95D4CA8}" destId="{5FE7F93B-F43F-574D-B856-9278ADB68E58}" srcOrd="6" destOrd="0" presId="urn:microsoft.com/office/officeart/2005/8/layout/vList6"/>
    <dgm:cxn modelId="{52821859-3D0F-2541-979F-E512BDC02D4D}" type="presParOf" srcId="{5FE7F93B-F43F-574D-B856-9278ADB68E58}" destId="{06A48BE0-1443-DF4F-AA7A-F5E6DFB76CCC}" srcOrd="0" destOrd="0" presId="urn:microsoft.com/office/officeart/2005/8/layout/vList6"/>
    <dgm:cxn modelId="{AD005C7F-EE23-744A-B82D-300069E38C49}" type="presParOf" srcId="{5FE7F93B-F43F-574D-B856-9278ADB68E58}" destId="{552F19B3-0421-F849-ABCE-7D4621F4C8E8}" srcOrd="1" destOrd="0" presId="urn:microsoft.com/office/officeart/2005/8/layout/vList6"/>
    <dgm:cxn modelId="{E3396052-E7E7-D147-90E0-E267F1E90FD0}" type="presParOf" srcId="{16DDB28A-CB28-F841-8856-F04EB95D4CA8}" destId="{7CF77219-2472-B345-88A7-9E81990A79BF}" srcOrd="7" destOrd="0" presId="urn:microsoft.com/office/officeart/2005/8/layout/vList6"/>
    <dgm:cxn modelId="{8B53279A-392B-D940-AAE5-7986AB57DD52}" type="presParOf" srcId="{16DDB28A-CB28-F841-8856-F04EB95D4CA8}" destId="{FDCC9F6A-E1B2-264E-83B2-97FECA310282}" srcOrd="8" destOrd="0" presId="urn:microsoft.com/office/officeart/2005/8/layout/vList6"/>
    <dgm:cxn modelId="{8AAE7948-9314-B24F-A0D2-351D919A5BE8}" type="presParOf" srcId="{FDCC9F6A-E1B2-264E-83B2-97FECA310282}" destId="{5E883745-EC07-AF44-A529-43B4E3CB1B23}" srcOrd="0" destOrd="0" presId="urn:microsoft.com/office/officeart/2005/8/layout/vList6"/>
    <dgm:cxn modelId="{ABC3A203-7BA7-1945-8000-8BCB46DFFE89}" type="presParOf" srcId="{FDCC9F6A-E1B2-264E-83B2-97FECA310282}" destId="{2F4AF56F-8F3F-AE4C-AAAA-D21AABECC52D}" srcOrd="1" destOrd="0" presId="urn:microsoft.com/office/officeart/2005/8/layout/vList6"/>
    <dgm:cxn modelId="{C630C9FB-F365-9444-9079-95BD3681CC77}" type="presParOf" srcId="{16DDB28A-CB28-F841-8856-F04EB95D4CA8}" destId="{8370D70C-94AC-3941-ABC4-32FB296FD023}" srcOrd="9" destOrd="0" presId="urn:microsoft.com/office/officeart/2005/8/layout/vList6"/>
    <dgm:cxn modelId="{9453A0DD-7534-FD42-B925-711BD912E61F}" type="presParOf" srcId="{16DDB28A-CB28-F841-8856-F04EB95D4CA8}" destId="{AB5FE2FC-B41A-9A4A-B9F6-E7954FC1FA7D}" srcOrd="10" destOrd="0" presId="urn:microsoft.com/office/officeart/2005/8/layout/vList6"/>
    <dgm:cxn modelId="{7318C8B8-7756-DF40-BD92-BA53412A6511}" type="presParOf" srcId="{AB5FE2FC-B41A-9A4A-B9F6-E7954FC1FA7D}" destId="{30AF27BA-56ED-7F49-AEB1-DB7C4BF2C01D}" srcOrd="0" destOrd="0" presId="urn:microsoft.com/office/officeart/2005/8/layout/vList6"/>
    <dgm:cxn modelId="{8357E24C-7B99-4441-8BCF-153C70082DC4}" type="presParOf" srcId="{AB5FE2FC-B41A-9A4A-B9F6-E7954FC1FA7D}" destId="{53F18705-1D8B-8244-8822-561C327610D2}" srcOrd="1" destOrd="0" presId="urn:microsoft.com/office/officeart/2005/8/layout/vList6"/>
    <dgm:cxn modelId="{54BF17C1-8459-7B47-930A-9F381AEF8632}" type="presParOf" srcId="{16DDB28A-CB28-F841-8856-F04EB95D4CA8}" destId="{E0468BBC-45AC-154F-8F96-13CC91B20062}" srcOrd="11" destOrd="0" presId="urn:microsoft.com/office/officeart/2005/8/layout/vList6"/>
    <dgm:cxn modelId="{725CB1FB-E648-BD4D-A7B5-FAA41BF0AD5E}" type="presParOf" srcId="{16DDB28A-CB28-F841-8856-F04EB95D4CA8}" destId="{38222A86-E1FF-1548-A081-E1BACDFEA468}" srcOrd="12" destOrd="0" presId="urn:microsoft.com/office/officeart/2005/8/layout/vList6"/>
    <dgm:cxn modelId="{F527EBD1-92E4-774F-AA9A-9453B805E2F0}" type="presParOf" srcId="{38222A86-E1FF-1548-A081-E1BACDFEA468}" destId="{02F976DE-4FEE-7545-A5C0-02FC8478BE08}" srcOrd="0" destOrd="0" presId="urn:microsoft.com/office/officeart/2005/8/layout/vList6"/>
    <dgm:cxn modelId="{F648039B-6FF2-0E44-AD26-CA58B949E26F}" type="presParOf" srcId="{38222A86-E1FF-1548-A081-E1BACDFEA468}" destId="{87A44736-5F01-4A4E-B3FF-8F71B39D4E2A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44CAC3-D86D-8F48-AFF0-FFB93F082EED}">
      <dsp:nvSpPr>
        <dsp:cNvPr id="0" name=""/>
        <dsp:cNvSpPr/>
      </dsp:nvSpPr>
      <dsp:spPr>
        <a:xfrm>
          <a:off x="3874275" y="0"/>
          <a:ext cx="5143687" cy="88249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" tIns="5080" rIns="5080" bIns="5080" numCol="1" spcCol="1270" anchor="t" anchorCtr="0">
          <a:noAutofit/>
        </a:bodyPr>
        <a:lstStyle/>
        <a:p>
          <a:pPr marL="57150" marR="0" lvl="1" indent="0" algn="l" defTabSz="3556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Char char="•"/>
            <a:tabLst/>
            <a:defRPr/>
          </a:pPr>
          <a:r>
            <a:rPr lang="en-GB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 panose="020B0502020202020204"/>
              <a:ea typeface="+mn-ea"/>
              <a:cs typeface="+mn-cs"/>
            </a:rPr>
            <a:t>Analyse internal clients requirements and needs Vs Analysing supplier’s market landscape and evolution</a:t>
          </a:r>
        </a:p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 panose="020B0502020202020204"/>
              <a:ea typeface="+mn-ea"/>
              <a:cs typeface="+mn-cs"/>
            </a:rPr>
            <a:t>Develop a spend profile of the category</a:t>
          </a:r>
        </a:p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 panose="020B0502020202020204"/>
              <a:ea typeface="+mn-ea"/>
              <a:cs typeface="+mn-cs"/>
            </a:rPr>
            <a:t>Analyse the category’s criticality and each category’s element criticality to the business</a:t>
          </a:r>
        </a:p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Match criticality to the ABC analyses : analyse where spending goes and define priorities </a:t>
          </a:r>
        </a:p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800" kern="1200" dirty="0"/>
        </a:p>
      </dsp:txBody>
      <dsp:txXfrm>
        <a:off x="3874275" y="110312"/>
        <a:ext cx="4812751" cy="661871"/>
      </dsp:txXfrm>
    </dsp:sp>
    <dsp:sp modelId="{11D2353A-F312-BD47-B6C1-4547CA5A0AF8}">
      <dsp:nvSpPr>
        <dsp:cNvPr id="0" name=""/>
        <dsp:cNvSpPr/>
      </dsp:nvSpPr>
      <dsp:spPr>
        <a:xfrm>
          <a:off x="47334" y="209"/>
          <a:ext cx="3827362" cy="882495"/>
        </a:xfrm>
        <a:prstGeom prst="roundRect">
          <a:avLst/>
        </a:prstGeom>
        <a:solidFill>
          <a:schemeClr val="accent2"/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i="0" kern="1200" dirty="0"/>
            <a:t>1 Develop category profile</a:t>
          </a:r>
          <a:endParaRPr lang="en-DE" sz="1400" kern="1200"/>
        </a:p>
      </dsp:txBody>
      <dsp:txXfrm>
        <a:off x="90414" y="43289"/>
        <a:ext cx="3741202" cy="796335"/>
      </dsp:txXfrm>
    </dsp:sp>
    <dsp:sp modelId="{0745CEB0-1299-3E49-A62E-789BB1DFBD65}">
      <dsp:nvSpPr>
        <dsp:cNvPr id="0" name=""/>
        <dsp:cNvSpPr/>
      </dsp:nvSpPr>
      <dsp:spPr>
        <a:xfrm>
          <a:off x="3852182" y="970954"/>
          <a:ext cx="5312646" cy="88249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900" kern="1200" dirty="0"/>
            <a:t>Analyse the buying / supply power and use category criticality data from previous step and position the category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900" kern="1200" dirty="0"/>
            <a:t>Determine sourcing approach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900" b="0" i="0" u="none" kern="1200" dirty="0"/>
            <a:t>Defining Goals, objectives and timeline to fulfil the requirements</a:t>
          </a:r>
          <a:endParaRPr lang="en-GB" sz="900" kern="1200" dirty="0"/>
        </a:p>
      </dsp:txBody>
      <dsp:txXfrm>
        <a:off x="3852182" y="1081266"/>
        <a:ext cx="4981710" cy="661871"/>
      </dsp:txXfrm>
    </dsp:sp>
    <dsp:sp modelId="{C4CF7A16-3838-954B-B842-DA36C3AC4D57}">
      <dsp:nvSpPr>
        <dsp:cNvPr id="0" name=""/>
        <dsp:cNvSpPr/>
      </dsp:nvSpPr>
      <dsp:spPr>
        <a:xfrm>
          <a:off x="25088" y="970954"/>
          <a:ext cx="3827362" cy="8824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i="0" kern="1200" dirty="0"/>
            <a:t>2 Building a Sourcing Strategy </a:t>
          </a:r>
          <a:endParaRPr lang="en-DE" sz="1400" kern="1200"/>
        </a:p>
      </dsp:txBody>
      <dsp:txXfrm>
        <a:off x="68168" y="1014034"/>
        <a:ext cx="3741202" cy="796335"/>
      </dsp:txXfrm>
    </dsp:sp>
    <dsp:sp modelId="{1195413E-1BAD-A04D-A594-5EC333B41823}">
      <dsp:nvSpPr>
        <dsp:cNvPr id="0" name=""/>
        <dsp:cNvSpPr/>
      </dsp:nvSpPr>
      <dsp:spPr>
        <a:xfrm>
          <a:off x="3859076" y="1941699"/>
          <a:ext cx="5337397" cy="111311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" tIns="5080" rIns="5080" bIns="5080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Identify existing suppliers and short –list qualified ones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Identify the needed requirement that a supplier should have 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Determine suppliers capabilities 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Develop supplier’s selection criteria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Develop supplier’s evaluation system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Establish the short-list of suppliers </a:t>
          </a:r>
        </a:p>
      </dsp:txBody>
      <dsp:txXfrm>
        <a:off x="3859076" y="2080839"/>
        <a:ext cx="4919978" cy="834838"/>
      </dsp:txXfrm>
    </dsp:sp>
    <dsp:sp modelId="{E7CCAA6F-C9D5-134C-8B38-0F3D9201438C}">
      <dsp:nvSpPr>
        <dsp:cNvPr id="0" name=""/>
        <dsp:cNvSpPr/>
      </dsp:nvSpPr>
      <dsp:spPr>
        <a:xfrm>
          <a:off x="35643" y="2057011"/>
          <a:ext cx="3823624" cy="8824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i="0" kern="1200" dirty="0"/>
            <a:t>Generate supplier portfolio</a:t>
          </a:r>
          <a:endParaRPr lang="en-DE" sz="1400" kern="1200"/>
        </a:p>
      </dsp:txBody>
      <dsp:txXfrm>
        <a:off x="78723" y="2100091"/>
        <a:ext cx="3737464" cy="796335"/>
      </dsp:txXfrm>
    </dsp:sp>
    <dsp:sp modelId="{552F19B3-0421-F849-ABCE-7D4621F4C8E8}">
      <dsp:nvSpPr>
        <dsp:cNvPr id="0" name=""/>
        <dsp:cNvSpPr/>
      </dsp:nvSpPr>
      <dsp:spPr>
        <a:xfrm>
          <a:off x="3827361" y="3155264"/>
          <a:ext cx="5741043" cy="88249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 Verify and adjust  sourcing strategy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000" kern="1200" dirty="0"/>
            <a:t>Develop implementation plan </a:t>
          </a:r>
        </a:p>
      </dsp:txBody>
      <dsp:txXfrm>
        <a:off x="3827361" y="3265576"/>
        <a:ext cx="5410107" cy="661871"/>
      </dsp:txXfrm>
    </dsp:sp>
    <dsp:sp modelId="{06A48BE0-1443-DF4F-AA7A-F5E6DFB76CCC}">
      <dsp:nvSpPr>
        <dsp:cNvPr id="0" name=""/>
        <dsp:cNvSpPr/>
      </dsp:nvSpPr>
      <dsp:spPr>
        <a:xfrm>
          <a:off x="0" y="3143067"/>
          <a:ext cx="3827362" cy="8824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i="0" kern="1200" dirty="0"/>
            <a:t>Select implementation plan</a:t>
          </a:r>
          <a:endParaRPr lang="en-DE" sz="1400" kern="1200"/>
        </a:p>
      </dsp:txBody>
      <dsp:txXfrm>
        <a:off x="43080" y="3186147"/>
        <a:ext cx="3741202" cy="796335"/>
      </dsp:txXfrm>
    </dsp:sp>
    <dsp:sp modelId="{2F4AF56F-8F3F-AE4C-AAAA-D21AABECC52D}">
      <dsp:nvSpPr>
        <dsp:cNvPr id="0" name=""/>
        <dsp:cNvSpPr/>
      </dsp:nvSpPr>
      <dsp:spPr>
        <a:xfrm>
          <a:off x="3827361" y="4113813"/>
          <a:ext cx="5741043" cy="88249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" tIns="5080" rIns="5080" bIns="5080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Plan negotiation strategy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Evaluate supplier proposals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Conduct negotiations with suppliers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Recommend sourcing decision   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800" kern="1200" dirty="0"/>
        </a:p>
      </dsp:txBody>
      <dsp:txXfrm>
        <a:off x="3827361" y="4224125"/>
        <a:ext cx="5410107" cy="661871"/>
      </dsp:txXfrm>
    </dsp:sp>
    <dsp:sp modelId="{5E883745-EC07-AF44-A529-43B4E3CB1B23}">
      <dsp:nvSpPr>
        <dsp:cNvPr id="0" name=""/>
        <dsp:cNvSpPr/>
      </dsp:nvSpPr>
      <dsp:spPr>
        <a:xfrm>
          <a:off x="0" y="4113813"/>
          <a:ext cx="3827362" cy="8824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i="0" kern="1200" dirty="0"/>
            <a:t>Selection of Suppliers and negotiation</a:t>
          </a:r>
          <a:endParaRPr lang="en-DE" sz="1400" kern="1200" dirty="0"/>
        </a:p>
      </dsp:txBody>
      <dsp:txXfrm>
        <a:off x="43080" y="4156893"/>
        <a:ext cx="3741202" cy="796335"/>
      </dsp:txXfrm>
    </dsp:sp>
    <dsp:sp modelId="{53F18705-1D8B-8244-8822-561C327610D2}">
      <dsp:nvSpPr>
        <dsp:cNvPr id="0" name=""/>
        <dsp:cNvSpPr/>
      </dsp:nvSpPr>
      <dsp:spPr>
        <a:xfrm>
          <a:off x="3827361" y="5108941"/>
          <a:ext cx="5741043" cy="88249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" tIns="5080" rIns="5080" bIns="5080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Plan and implement transition to new supplier relationships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Identify what kind of relationship would be (see tool box in front)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Define a performance measurement dashboard 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Implement appropriate management control and reporting system</a:t>
          </a:r>
        </a:p>
      </dsp:txBody>
      <dsp:txXfrm>
        <a:off x="3827361" y="5219253"/>
        <a:ext cx="5410107" cy="661871"/>
      </dsp:txXfrm>
    </dsp:sp>
    <dsp:sp modelId="{30AF27BA-56ED-7F49-AEB1-DB7C4BF2C01D}">
      <dsp:nvSpPr>
        <dsp:cNvPr id="0" name=""/>
        <dsp:cNvSpPr/>
      </dsp:nvSpPr>
      <dsp:spPr>
        <a:xfrm>
          <a:off x="0" y="5084558"/>
          <a:ext cx="3827362" cy="8824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i="0" kern="1200" dirty="0"/>
            <a:t>Implement &amp; Integrate  </a:t>
          </a:r>
          <a:endParaRPr lang="en-DE" sz="1400" kern="1200" dirty="0"/>
        </a:p>
      </dsp:txBody>
      <dsp:txXfrm>
        <a:off x="43080" y="5127638"/>
        <a:ext cx="3741202" cy="796335"/>
      </dsp:txXfrm>
    </dsp:sp>
    <dsp:sp modelId="{87A44736-5F01-4A4E-B3FF-8F71B39D4E2A}">
      <dsp:nvSpPr>
        <dsp:cNvPr id="0" name=""/>
        <dsp:cNvSpPr/>
      </dsp:nvSpPr>
      <dsp:spPr>
        <a:xfrm>
          <a:off x="3827361" y="6055303"/>
          <a:ext cx="5741043" cy="88249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" tIns="5080" rIns="5080" bIns="5080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Implement performance improvement review based on systemic evaluation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Conduct market benchmarking activities  close monitor the market’s conditions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800" kern="1200" dirty="0"/>
            <a:t>Assess new technologies and best practices impact  </a:t>
          </a:r>
        </a:p>
      </dsp:txBody>
      <dsp:txXfrm>
        <a:off x="3827361" y="6165615"/>
        <a:ext cx="5410107" cy="661871"/>
      </dsp:txXfrm>
    </dsp:sp>
    <dsp:sp modelId="{02F976DE-4FEE-7545-A5C0-02FC8478BE08}">
      <dsp:nvSpPr>
        <dsp:cNvPr id="0" name=""/>
        <dsp:cNvSpPr/>
      </dsp:nvSpPr>
      <dsp:spPr>
        <a:xfrm>
          <a:off x="0" y="6055303"/>
          <a:ext cx="3827362" cy="88249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i="0" kern="1200" dirty="0"/>
            <a:t>Continuous improvement </a:t>
          </a:r>
          <a:endParaRPr lang="en-DE" sz="1400" kern="1200"/>
        </a:p>
      </dsp:txBody>
      <dsp:txXfrm>
        <a:off x="43080" y="6098383"/>
        <a:ext cx="3741202" cy="7963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/>
              <a:t>1/26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/>
              <a:t>1/26/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/>
              <a:t>1/26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996F538-2FDE-E340-8466-C8E30FD5B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39472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/>
              <a:t>1/26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64" r:id="rId12"/>
    <p:sldLayoutId id="2147483662" r:id="rId13"/>
    <p:sldLayoutId id="2147483669" r:id="rId14"/>
    <p:sldLayoutId id="2147483670" r:id="rId15"/>
    <p:sldLayoutId id="2147483658" r:id="rId16"/>
    <p:sldLayoutId id="2147483659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1.xml"/><Relationship Id="rId5" Type="http://schemas.openxmlformats.org/officeDocument/2006/relationships/image" Target="../media/image7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280D1F-D732-8F4E-B07F-7B715F724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3465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E0C9C7C9-1506-5F48-80F8-07E1289558E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9750661"/>
              </p:ext>
            </p:extLst>
          </p:nvPr>
        </p:nvGraphicFramePr>
        <p:xfrm>
          <a:off x="0" y="0"/>
          <a:ext cx="9568405" cy="69380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355D84E-7BEF-D24E-B342-D938A86AE203}"/>
              </a:ext>
            </a:extLst>
          </p:cNvPr>
          <p:cNvSpPr/>
          <p:nvPr/>
        </p:nvSpPr>
        <p:spPr>
          <a:xfrm>
            <a:off x="8903970" y="0"/>
            <a:ext cx="3288030" cy="100584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DE" sz="900" dirty="0"/>
              <a:t>Use ABC analyse to identify what gategory represents 80% of overall purchaised volume.</a:t>
            </a:r>
          </a:p>
          <a:p>
            <a:pPr marL="171450" indent="-171450">
              <a:buFontTx/>
              <a:buChar char="-"/>
            </a:pPr>
            <a:r>
              <a:rPr lang="en-DE" sz="900" dirty="0"/>
              <a:t>Use financial data : Accounts payable per category + spending per category as input for ABC</a:t>
            </a:r>
          </a:p>
          <a:p>
            <a:pPr marL="171450" indent="-171450">
              <a:buFontTx/>
              <a:buChar char="-"/>
            </a:pPr>
            <a:r>
              <a:rPr lang="en-DE" sz="900" dirty="0"/>
              <a:t>Use Excel ABC framework </a:t>
            </a:r>
          </a:p>
          <a:p>
            <a:pPr marL="171450" indent="-171450">
              <a:buFontTx/>
              <a:buChar char="-"/>
            </a:pPr>
            <a:r>
              <a:rPr lang="en-DE" sz="900" dirty="0"/>
              <a:t>Use criticality matrix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CA70278-1F47-A54A-98BE-F23A40E904E7}"/>
              </a:ext>
            </a:extLst>
          </p:cNvPr>
          <p:cNvSpPr/>
          <p:nvPr/>
        </p:nvSpPr>
        <p:spPr>
          <a:xfrm>
            <a:off x="8903970" y="999534"/>
            <a:ext cx="3288030" cy="100584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DE" sz="900" dirty="0"/>
              <a:t>Use Porter 5 analyses to determain the bargining power and position of buyers and suppliers, potential suppliers,  substitues and market competition. </a:t>
            </a:r>
          </a:p>
          <a:p>
            <a:pPr marL="171450" indent="-171450">
              <a:buFontTx/>
              <a:buChar char="-"/>
            </a:pPr>
            <a:r>
              <a:rPr lang="en-GB" sz="900" dirty="0"/>
              <a:t>Chose an approaches :</a:t>
            </a:r>
            <a:r>
              <a:rPr lang="en-DE" sz="900" dirty="0"/>
              <a:t> single, or dual, or multiple sourcing approach </a:t>
            </a:r>
          </a:p>
          <a:p>
            <a:pPr marL="171450" indent="-171450">
              <a:buFontTx/>
              <a:buChar char="-"/>
            </a:pPr>
            <a:endParaRPr lang="en-DE" sz="9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C6E173-2B3A-0E45-ADC0-35ED47399DBA}"/>
              </a:ext>
            </a:extLst>
          </p:cNvPr>
          <p:cNvSpPr/>
          <p:nvPr/>
        </p:nvSpPr>
        <p:spPr>
          <a:xfrm>
            <a:off x="8903970" y="1987571"/>
            <a:ext cx="3288030" cy="100584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GB" sz="900" dirty="0"/>
              <a:t>Suppliers capabilities can be assessed along 3 dimensions: Evolutionary capability; Improvement capability; Maintenance capability</a:t>
            </a:r>
          </a:p>
          <a:p>
            <a:pPr marL="171450" indent="-171450">
              <a:buFontTx/>
              <a:buChar char="-"/>
            </a:pPr>
            <a:r>
              <a:rPr lang="en-GB" sz="900" dirty="0"/>
              <a:t>Use </a:t>
            </a:r>
            <a:r>
              <a:rPr lang="en-GB" sz="900" dirty="0" err="1"/>
              <a:t>Kraljic</a:t>
            </a:r>
            <a:r>
              <a:rPr lang="en-GB" sz="900" dirty="0"/>
              <a:t> Portfolio analyses for deep suppliers analyses in terms if risks and capabilities</a:t>
            </a:r>
          </a:p>
          <a:p>
            <a:pPr marL="171450" indent="-171450">
              <a:buFontTx/>
              <a:buChar char="-"/>
            </a:pPr>
            <a:endParaRPr lang="en-DE" sz="9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FACAB3F-DFA3-AC4F-974A-719DB2991226}"/>
              </a:ext>
            </a:extLst>
          </p:cNvPr>
          <p:cNvSpPr/>
          <p:nvPr/>
        </p:nvSpPr>
        <p:spPr>
          <a:xfrm>
            <a:off x="8903970" y="3250268"/>
            <a:ext cx="3288030" cy="724874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GB" sz="900" dirty="0"/>
              <a:t>Revisit the strategy and have the team take another look at it </a:t>
            </a:r>
            <a:r>
              <a:rPr lang="en-GB" sz="900" dirty="0" err="1"/>
              <a:t>inorder</a:t>
            </a:r>
            <a:r>
              <a:rPr lang="en-GB" sz="900" dirty="0"/>
              <a:t> to prepare for the negotiation strategy </a:t>
            </a:r>
            <a:endParaRPr lang="en-DE" sz="9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751263-5F94-E24C-9044-EA3D35CEC3DC}"/>
              </a:ext>
            </a:extLst>
          </p:cNvPr>
          <p:cNvSpPr/>
          <p:nvPr/>
        </p:nvSpPr>
        <p:spPr>
          <a:xfrm>
            <a:off x="8903970" y="4122271"/>
            <a:ext cx="3288030" cy="724874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GB" sz="900" dirty="0"/>
              <a:t>Send out, receive a  evaluate RFQs</a:t>
            </a:r>
          </a:p>
          <a:p>
            <a:pPr marL="171450" indent="-171450">
              <a:buFontTx/>
              <a:buChar char="-"/>
            </a:pPr>
            <a:r>
              <a:rPr lang="en-GB" sz="900" dirty="0"/>
              <a:t>Chose a method with which to proceed: e-auction, biding….</a:t>
            </a:r>
          </a:p>
          <a:p>
            <a:pPr marL="171450" indent="-171450">
              <a:buFontTx/>
              <a:buChar char="-"/>
            </a:pPr>
            <a:endParaRPr lang="en-DE" sz="9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16CAB4-3C00-1547-96CD-99A41BCB6510}"/>
              </a:ext>
            </a:extLst>
          </p:cNvPr>
          <p:cNvSpPr/>
          <p:nvPr/>
        </p:nvSpPr>
        <p:spPr>
          <a:xfrm>
            <a:off x="8903970" y="4956873"/>
            <a:ext cx="3288030" cy="981731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GB" sz="900" dirty="0"/>
              <a:t>Set kick-start and transition meetings </a:t>
            </a:r>
          </a:p>
          <a:p>
            <a:pPr marL="171450" indent="-171450">
              <a:buFontTx/>
              <a:buChar char="-"/>
            </a:pPr>
            <a:r>
              <a:rPr lang="en-GB" sz="900" dirty="0"/>
              <a:t>Use chess-Matrix to identify what kind of relationship and strategy to adopt with the supplier </a:t>
            </a:r>
          </a:p>
          <a:p>
            <a:pPr marL="171450" indent="-171450">
              <a:buFontTx/>
              <a:buChar char="-"/>
            </a:pPr>
            <a:r>
              <a:rPr lang="en-GB" sz="900" dirty="0"/>
              <a:t>Use MCRS (management control and reporting system) tools: performance meetings, KPIs,… to ensure performance follow up and management</a:t>
            </a:r>
          </a:p>
          <a:p>
            <a:pPr marL="171450" indent="-171450">
              <a:buFontTx/>
              <a:buChar char="-"/>
            </a:pPr>
            <a:endParaRPr lang="en-DE" sz="900" dirty="0"/>
          </a:p>
        </p:txBody>
      </p:sp>
    </p:spTree>
    <p:extLst>
      <p:ext uri="{BB962C8B-B14F-4D97-AF65-F5344CB8AC3E}">
        <p14:creationId xmlns:p14="http://schemas.microsoft.com/office/powerpoint/2010/main" val="41758458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290</TotalTime>
  <Words>403</Words>
  <Application>Microsoft Macintosh PowerPoint</Application>
  <PresentationFormat>Widescreen</PresentationFormat>
  <Paragraphs>4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entury Gothic</vt:lpstr>
      <vt:lpstr>Wingdings 3</vt:lpstr>
      <vt:lpstr>Ion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RELIDRISSI Anas</dc:creator>
  <cp:lastModifiedBy>AMIRELIDRISSI Anas</cp:lastModifiedBy>
  <cp:revision>20</cp:revision>
  <dcterms:created xsi:type="dcterms:W3CDTF">2021-01-19T22:24:57Z</dcterms:created>
  <dcterms:modified xsi:type="dcterms:W3CDTF">2021-01-26T14:31:48Z</dcterms:modified>
</cp:coreProperties>
</file>